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52" r:id="rId5"/>
    <p:sldMasterId id="2147483762" r:id="rId6"/>
    <p:sldMasterId id="2147483771" r:id="rId7"/>
  </p:sldMasterIdLst>
  <p:notesMasterIdLst>
    <p:notesMasterId r:id="rId30"/>
  </p:notesMasterIdLst>
  <p:handoutMasterIdLst>
    <p:handoutMasterId r:id="rId31"/>
  </p:handoutMasterIdLst>
  <p:sldIdLst>
    <p:sldId id="11203" r:id="rId8"/>
    <p:sldId id="11529" r:id="rId9"/>
    <p:sldId id="11595" r:id="rId10"/>
    <p:sldId id="11563" r:id="rId11"/>
    <p:sldId id="11593" r:id="rId12"/>
    <p:sldId id="11596" r:id="rId13"/>
    <p:sldId id="11592" r:id="rId14"/>
    <p:sldId id="11594" r:id="rId15"/>
    <p:sldId id="11566" r:id="rId16"/>
    <p:sldId id="11576" r:id="rId17"/>
    <p:sldId id="11570" r:id="rId18"/>
    <p:sldId id="11598" r:id="rId19"/>
    <p:sldId id="11597" r:id="rId20"/>
    <p:sldId id="11599" r:id="rId21"/>
    <p:sldId id="11572" r:id="rId22"/>
    <p:sldId id="11562" r:id="rId23"/>
    <p:sldId id="11585" r:id="rId24"/>
    <p:sldId id="11539" r:id="rId25"/>
    <p:sldId id="11559" r:id="rId26"/>
    <p:sldId id="11560" r:id="rId27"/>
    <p:sldId id="11600" r:id="rId28"/>
    <p:sldId id="11522" r:id="rId29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93A3E8C4-671E-4D48-BC58-C6A85DC40074}">
          <p14:sldIdLst>
            <p14:sldId id="11203"/>
            <p14:sldId id="11529"/>
            <p14:sldId id="11595"/>
            <p14:sldId id="11563"/>
            <p14:sldId id="11593"/>
            <p14:sldId id="11596"/>
            <p14:sldId id="11592"/>
            <p14:sldId id="11594"/>
            <p14:sldId id="11566"/>
            <p14:sldId id="11576"/>
            <p14:sldId id="11570"/>
            <p14:sldId id="11598"/>
            <p14:sldId id="11597"/>
            <p14:sldId id="11599"/>
            <p14:sldId id="11572"/>
            <p14:sldId id="11562"/>
            <p14:sldId id="11585"/>
            <p14:sldId id="11539"/>
            <p14:sldId id="11559"/>
            <p14:sldId id="11560"/>
            <p14:sldId id="11600"/>
            <p14:sldId id="11522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DDED487-0056-683A-B76A-CCC90DC76195}" name="Anna WIEGEL (PTV Group)" initials="AG" userId="S::anna.wiegel@ptvgroup.com::8bb40ef4-5b1d-44cb-9ad5-a7e6243594a5" providerId="AD"/>
  <p188:author id="{1510F6AD-7F5B-742B-5534-6B8634E42D52}" name="Franziska PFAFF (PTV Group)" initials="FP(G" userId="S::Franziska.Pfaff@ptvgroup.com::59dbec2d-366c-4e18-845b-fc71e77bc3f0" providerId="AD"/>
  <p188:author id="{F5BF2DB2-FBE4-95A8-2759-3AC39280E715}" name="Franziska PFAFF (PTV Group)" initials="FG" userId="S::franziska.pfaff@ptvgroup.com::59dbec2d-366c-4e18-845b-fc71e77bc3f0" providerId="AD"/>
  <p188:author id="{6A5489C5-126D-9ED5-0071-750CC0704135}" name="Sven BELLER (PTV Group)" initials="SB(G" userId="S::Sven.Beller@ptvgroup.com::39368ae2-8217-422b-bfc0-0734803a5c5b" providerId="AD"/>
  <p188:author id="{06E25DEA-A8C9-5FA8-FBC1-059365C5998D}" name="Janine STUCHL (PTV Group)" initials="JS(G" userId="S::Janine.Stuchl@ptvgroup.com::f0ec82af-3b19-462a-b10b-b5e3ccc46d47" providerId="AD"/>
  <p188:author id="{4D7E56FC-7269-85FE-3577-DA2F9562F2FF}" name="Anna WIEGEL (PTV Group)" initials="AW(G" userId="S::Anna.Wiegel@ptvgroup.com::8bb40ef4-5b1d-44cb-9ad5-a7e6243594a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93A9FB"/>
    <a:srgbClr val="8AEEBC"/>
    <a:srgbClr val="CADD13"/>
    <a:srgbClr val="CFE30D"/>
    <a:srgbClr val="E7E906"/>
    <a:srgbClr val="E7E200"/>
    <a:srgbClr val="0033CC"/>
    <a:srgbClr val="008000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 pośredni 2 — Ak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Styl pośredni 1 — Ak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Styl pośredni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357" autoAdjust="0"/>
    <p:restoredTop sz="46610" autoAdjust="0"/>
  </p:normalViewPr>
  <p:slideViewPr>
    <p:cSldViewPr snapToGrid="0">
      <p:cViewPr>
        <p:scale>
          <a:sx n="80" d="100"/>
          <a:sy n="80" d="100"/>
        </p:scale>
        <p:origin x="208" y="-340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>
            <a:extLst>
              <a:ext uri="{FF2B5EF4-FFF2-40B4-BE49-F238E27FC236}">
                <a16:creationId xmlns:a16="http://schemas.microsoft.com/office/drawing/2014/main" id="{DE49E30E-CDC6-50CC-C636-70D359B72F7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8BE3AEB5-932A-C59D-54A0-F66EEE2AA0A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BBFCB7-4E4F-C745-A553-532F6796E88D}" type="datetimeFigureOut">
              <a:rPr lang="pl-PL" smtClean="0"/>
              <a:t>16.04.2024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DF89E041-85E2-9136-2505-05A8C02EE8B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E89B9359-BA3B-B7E5-C0E6-8D6A8F4C390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9E4526-73D4-BC40-96C4-FFB28E8DBC2E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340563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E3992C-28FF-DD43-9D55-093A5D92406A}" type="datetimeFigureOut">
              <a:rPr lang="pl-PL" smtClean="0"/>
              <a:t>16.04.20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pl-PL"/>
              <a:t>Edytuj style wzorca tekstu
Drugi poziom
Trzeci poziom
Czwarty poziom
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585ED7-85BC-BA49-9D52-685823EE4109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95032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402727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092436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215233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518284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94946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132708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1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30593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1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845633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319648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2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897758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794112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034280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456217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432300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433302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049803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35003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trike="noStrik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585ED7-85BC-BA49-9D52-685823EE4109}" type="slidenum">
              <a:rPr lang="pl-PL" smtClean="0"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465677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4" Type="http://schemas.openxmlformats.org/officeDocument/2006/relationships/image" Target="../media/image1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4" Type="http://schemas.openxmlformats.org/officeDocument/2006/relationships/image" Target="../media/image11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4" Type="http://schemas.openxmlformats.org/officeDocument/2006/relationships/image" Target="../media/image1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4" Type="http://schemas.openxmlformats.org/officeDocument/2006/relationships/image" Target="../media/image1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1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openxmlformats.org/officeDocument/2006/relationships/image" Target="../media/image1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openxmlformats.org/officeDocument/2006/relationships/image" Target="../media/image1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BLU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rostokąt 6">
            <a:extLst>
              <a:ext uri="{FF2B5EF4-FFF2-40B4-BE49-F238E27FC236}">
                <a16:creationId xmlns:a16="http://schemas.microsoft.com/office/drawing/2014/main" id="{BB3E7799-C150-2E47-88F5-998C49ABBD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6350">
            <a:noFill/>
          </a:ln>
          <a:effectLst>
            <a:glow>
              <a:schemeClr val="accent1">
                <a:satMod val="175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bg1"/>
              </a:solidFill>
            </a:endParaRP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4857821B-6B28-F34C-B018-53DA23619F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72050" y="1385581"/>
            <a:ext cx="1847900" cy="420950"/>
          </a:xfrm>
          <a:prstGeom prst="rect">
            <a:avLst/>
          </a:prstGeom>
        </p:spPr>
      </p:pic>
      <p:cxnSp>
        <p:nvCxnSpPr>
          <p:cNvPr id="10" name="Łącznik prosty 9">
            <a:extLst>
              <a:ext uri="{FF2B5EF4-FFF2-40B4-BE49-F238E27FC236}">
                <a16:creationId xmlns:a16="http://schemas.microsoft.com/office/drawing/2014/main" id="{A8412791-40E7-694C-8DFF-64533DF890C8}"/>
              </a:ext>
            </a:extLst>
          </p:cNvPr>
          <p:cNvCxnSpPr>
            <a:cxnSpLocks/>
          </p:cNvCxnSpPr>
          <p:nvPr userDrawn="1"/>
        </p:nvCxnSpPr>
        <p:spPr>
          <a:xfrm>
            <a:off x="5146745" y="3433036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ytuł 13">
            <a:extLst>
              <a:ext uri="{FF2B5EF4-FFF2-40B4-BE49-F238E27FC236}">
                <a16:creationId xmlns:a16="http://schemas.microsoft.com/office/drawing/2014/main" id="{F48029EB-2E23-7148-B073-65CCC0E78D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445276"/>
            <a:ext cx="10515600" cy="748245"/>
          </a:xfrm>
          <a:prstGeom prst="rect">
            <a:avLst/>
          </a:prstGeom>
        </p:spPr>
        <p:txBody>
          <a:bodyPr/>
          <a:lstStyle>
            <a:lvl1pPr algn="ctr">
              <a:defRPr sz="6000" b="0" i="0" cap="all" baseline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Presentation </a:t>
            </a:r>
            <a:r>
              <a:rPr lang="pl-PL" err="1"/>
              <a:t>title</a:t>
            </a:r>
            <a:endParaRPr lang="pl-PL"/>
          </a:p>
        </p:txBody>
      </p:sp>
      <p:sp>
        <p:nvSpPr>
          <p:cNvPr id="16" name="Symbol zastępczy tekstu 15">
            <a:extLst>
              <a:ext uri="{FF2B5EF4-FFF2-40B4-BE49-F238E27FC236}">
                <a16:creationId xmlns:a16="http://schemas.microsoft.com/office/drawing/2014/main" id="{EC4D814B-D9D0-8441-90A0-4230598F00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2847" y="4077990"/>
            <a:ext cx="5226306" cy="160655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4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pl-PL"/>
              <a:t>Speaker</a:t>
            </a:r>
            <a:br>
              <a:rPr lang="pl-PL"/>
            </a:br>
            <a:r>
              <a:rPr lang="pl-PL" err="1"/>
              <a:t>Date</a:t>
            </a:r>
            <a:br>
              <a:rPr lang="pl-PL"/>
            </a:br>
            <a:r>
              <a:rPr lang="pl-PL" err="1"/>
              <a:t>Location</a:t>
            </a:r>
            <a:br>
              <a:rPr lang="pl-PL"/>
            </a:br>
            <a:r>
              <a:rPr lang="pl-PL"/>
              <a:t>etc.</a:t>
            </a: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BC357941-35CD-BD49-9696-673FD4A358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522" b="5177"/>
          <a:stretch/>
        </p:blipFill>
        <p:spPr>
          <a:xfrm>
            <a:off x="5243301" y="-571348"/>
            <a:ext cx="1728998" cy="151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420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v1 [GREE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z zaokrąglonym rogiem 1">
            <a:extLst>
              <a:ext uri="{FF2B5EF4-FFF2-40B4-BE49-F238E27FC236}">
                <a16:creationId xmlns:a16="http://schemas.microsoft.com/office/drawing/2014/main" id="{97A23517-7388-C940-A4B7-6260A1FBB7E2}"/>
              </a:ext>
            </a:extLst>
          </p:cNvPr>
          <p:cNvSpPr/>
          <p:nvPr userDrawn="1"/>
        </p:nvSpPr>
        <p:spPr>
          <a:xfrm rot="5400000">
            <a:off x="4948642" y="-385356"/>
            <a:ext cx="6858001" cy="7628717"/>
          </a:xfrm>
          <a:prstGeom prst="round1Rect">
            <a:avLst>
              <a:gd name="adj" fmla="val 0"/>
            </a:avLst>
          </a:prstGeom>
          <a:solidFill>
            <a:schemeClr val="accent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8B4B2BC9-F425-33EA-C6E3-D84125C68C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cxnSp>
        <p:nvCxnSpPr>
          <p:cNvPr id="5" name="Łącznik prosty 4">
            <a:extLst>
              <a:ext uri="{FF2B5EF4-FFF2-40B4-BE49-F238E27FC236}">
                <a16:creationId xmlns:a16="http://schemas.microsoft.com/office/drawing/2014/main" id="{1D262507-4C7C-A213-4D78-352BB05A539F}"/>
              </a:ext>
            </a:extLst>
          </p:cNvPr>
          <p:cNvCxnSpPr>
            <a:cxnSpLocks/>
          </p:cNvCxnSpPr>
          <p:nvPr userDrawn="1"/>
        </p:nvCxnSpPr>
        <p:spPr>
          <a:xfrm>
            <a:off x="4249696" y="342664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ytuł 13">
            <a:extLst>
              <a:ext uri="{FF2B5EF4-FFF2-40B4-BE49-F238E27FC236}">
                <a16:creationId xmlns:a16="http://schemas.microsoft.com/office/drawing/2014/main" id="{48D950BC-B305-8BC9-BA38-C0610AE53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1373" y="2212457"/>
            <a:ext cx="4157222" cy="2503796"/>
          </a:xfrm>
          <a:prstGeom prst="rect">
            <a:avLst/>
          </a:prstGeom>
        </p:spPr>
        <p:txBody>
          <a:bodyPr anchor="ctr" anchorCtr="0"/>
          <a:lstStyle>
            <a:lvl1pPr algn="l">
              <a:defRPr sz="4200" b="0" i="0" cap="none" baseline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an</a:t>
            </a:r>
            <a:br>
              <a:rPr lang="pl-PL"/>
            </a:br>
            <a:r>
              <a:rPr lang="pl-PL"/>
              <a:t>Optional</a:t>
            </a:r>
            <a:br>
              <a:rPr lang="pl-PL"/>
            </a:br>
            <a:r>
              <a:rPr lang="pl-PL" err="1"/>
              <a:t>Titl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22328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v2 [BLU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obrazu 38">
            <a:extLst>
              <a:ext uri="{FF2B5EF4-FFF2-40B4-BE49-F238E27FC236}">
                <a16:creationId xmlns:a16="http://schemas.microsoft.com/office/drawing/2014/main" id="{0D5E1D85-FE91-E745-9FA9-C0C0A482141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4763"/>
            <a:ext cx="6095998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2" name="Prostokąt z zaokrąglonym rogiem 1">
            <a:extLst>
              <a:ext uri="{FF2B5EF4-FFF2-40B4-BE49-F238E27FC236}">
                <a16:creationId xmlns:a16="http://schemas.microsoft.com/office/drawing/2014/main" id="{97A23517-7388-C940-A4B7-6260A1FBB7E2}"/>
              </a:ext>
            </a:extLst>
          </p:cNvPr>
          <p:cNvSpPr/>
          <p:nvPr userDrawn="1"/>
        </p:nvSpPr>
        <p:spPr>
          <a:xfrm rot="5400000">
            <a:off x="5714999" y="381002"/>
            <a:ext cx="6858001" cy="6096001"/>
          </a:xfrm>
          <a:prstGeom prst="round1Rect">
            <a:avLst>
              <a:gd name="adj" fmla="val 0"/>
            </a:avLst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414474EA-C8A3-3B73-8D45-A4EA529E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7" name="Tytuł 13">
            <a:extLst>
              <a:ext uri="{FF2B5EF4-FFF2-40B4-BE49-F238E27FC236}">
                <a16:creationId xmlns:a16="http://schemas.microsoft.com/office/drawing/2014/main" id="{9A9E08B8-3FBB-685A-687F-D868311592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8555" y="2212457"/>
            <a:ext cx="4157222" cy="2503796"/>
          </a:xfrm>
          <a:prstGeom prst="rect">
            <a:avLst/>
          </a:prstGeom>
        </p:spPr>
        <p:txBody>
          <a:bodyPr anchor="ctr" anchorCtr="0"/>
          <a:lstStyle>
            <a:lvl1pPr algn="l">
              <a:defRPr sz="4200" b="0" i="0" cap="none" baseline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an</a:t>
            </a:r>
            <a:br>
              <a:rPr lang="pl-PL"/>
            </a:br>
            <a:r>
              <a:rPr lang="pl-PL" err="1"/>
              <a:t>Optional</a:t>
            </a:r>
            <a:br>
              <a:rPr lang="pl-PL"/>
            </a:br>
            <a:r>
              <a:rPr lang="pl-PL" err="1"/>
              <a:t>Titl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88198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v2 [GREE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obrazu 38">
            <a:extLst>
              <a:ext uri="{FF2B5EF4-FFF2-40B4-BE49-F238E27FC236}">
                <a16:creationId xmlns:a16="http://schemas.microsoft.com/office/drawing/2014/main" id="{0D5E1D85-FE91-E745-9FA9-C0C0A482141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4763"/>
            <a:ext cx="6095998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2" name="Prostokąt z zaokrąglonym rogiem 1">
            <a:extLst>
              <a:ext uri="{FF2B5EF4-FFF2-40B4-BE49-F238E27FC236}">
                <a16:creationId xmlns:a16="http://schemas.microsoft.com/office/drawing/2014/main" id="{97A23517-7388-C940-A4B7-6260A1FBB7E2}"/>
              </a:ext>
            </a:extLst>
          </p:cNvPr>
          <p:cNvSpPr/>
          <p:nvPr userDrawn="1"/>
        </p:nvSpPr>
        <p:spPr>
          <a:xfrm rot="5400000">
            <a:off x="5714999" y="381002"/>
            <a:ext cx="6858001" cy="6096001"/>
          </a:xfrm>
          <a:prstGeom prst="round1Rect">
            <a:avLst>
              <a:gd name="adj" fmla="val 0"/>
            </a:avLst>
          </a:prstGeom>
          <a:solidFill>
            <a:schemeClr val="accent3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414474EA-C8A3-3B73-8D45-A4EA529EE5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5" name="Tytuł 13">
            <a:extLst>
              <a:ext uri="{FF2B5EF4-FFF2-40B4-BE49-F238E27FC236}">
                <a16:creationId xmlns:a16="http://schemas.microsoft.com/office/drawing/2014/main" id="{39BC74DB-561A-71F0-4D4D-D055801B41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8555" y="2212457"/>
            <a:ext cx="4157222" cy="2503796"/>
          </a:xfrm>
          <a:prstGeom prst="rect">
            <a:avLst/>
          </a:prstGeom>
        </p:spPr>
        <p:txBody>
          <a:bodyPr anchor="ctr" anchorCtr="0"/>
          <a:lstStyle>
            <a:lvl1pPr algn="l">
              <a:defRPr sz="4200" b="0" i="0" cap="none" baseline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an</a:t>
            </a:r>
            <a:br>
              <a:rPr lang="pl-PL"/>
            </a:br>
            <a:r>
              <a:rPr lang="pl-PL" err="1"/>
              <a:t>Optional</a:t>
            </a:r>
            <a:br>
              <a:rPr lang="pl-PL"/>
            </a:br>
            <a:r>
              <a:rPr lang="pl-PL" err="1"/>
              <a:t>Titl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51944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v2 [BLACK and WHIT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obrazu 38">
            <a:extLst>
              <a:ext uri="{FF2B5EF4-FFF2-40B4-BE49-F238E27FC236}">
                <a16:creationId xmlns:a16="http://schemas.microsoft.com/office/drawing/2014/main" id="{0D5E1D85-FE91-E745-9FA9-C0C0A482141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4763"/>
            <a:ext cx="6095999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ED57EBD3-D191-DDFE-C8E1-C46221E567E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2" name="Tytuł 13">
            <a:extLst>
              <a:ext uri="{FF2B5EF4-FFF2-40B4-BE49-F238E27FC236}">
                <a16:creationId xmlns:a16="http://schemas.microsoft.com/office/drawing/2014/main" id="{A90E6BA6-1C3F-9982-B969-1F8706EDB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08555" y="2212457"/>
            <a:ext cx="4157222" cy="2503796"/>
          </a:xfrm>
          <a:prstGeom prst="rect">
            <a:avLst/>
          </a:prstGeom>
        </p:spPr>
        <p:txBody>
          <a:bodyPr anchor="ctr" anchorCtr="0"/>
          <a:lstStyle>
            <a:lvl1pPr algn="l">
              <a:defRPr sz="4200" b="0" i="0" cap="none" baseline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an</a:t>
            </a:r>
            <a:br>
              <a:rPr lang="pl-PL"/>
            </a:br>
            <a:r>
              <a:rPr lang="pl-PL" err="1"/>
              <a:t>Optional</a:t>
            </a:r>
            <a:br>
              <a:rPr lang="pl-PL"/>
            </a:br>
            <a:r>
              <a:rPr lang="pl-PL" err="1"/>
              <a:t>Titl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21687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rostokąt 13">
            <a:extLst>
              <a:ext uri="{FF2B5EF4-FFF2-40B4-BE49-F238E27FC236}">
                <a16:creationId xmlns:a16="http://schemas.microsoft.com/office/drawing/2014/main" id="{C5975384-A597-3A46-BF75-371BD2F2C230}"/>
              </a:ext>
            </a:extLst>
          </p:cNvPr>
          <p:cNvSpPr/>
          <p:nvPr userDrawn="1"/>
        </p:nvSpPr>
        <p:spPr>
          <a:xfrm>
            <a:off x="0" y="2878385"/>
            <a:ext cx="12192000" cy="5029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65DD9077-D852-2E40-B9CA-E11517AE0C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9" name="Prostokąt z zaokrąglonym rogiem 8">
            <a:extLst>
              <a:ext uri="{FF2B5EF4-FFF2-40B4-BE49-F238E27FC236}">
                <a16:creationId xmlns:a16="http://schemas.microsoft.com/office/drawing/2014/main" id="{EF8A63AE-DD69-554E-82E9-D3DF036951B1}"/>
              </a:ext>
            </a:extLst>
          </p:cNvPr>
          <p:cNvSpPr/>
          <p:nvPr userDrawn="1"/>
        </p:nvSpPr>
        <p:spPr>
          <a:xfrm rot="10800000">
            <a:off x="10154585" y="-22230"/>
            <a:ext cx="2047461" cy="1934434"/>
          </a:xfrm>
          <a:prstGeom prst="round1Rect">
            <a:avLst>
              <a:gd name="adj" fmla="val 43142"/>
            </a:avLst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3" name="Symbol zastępczy tekstu 36">
            <a:extLst>
              <a:ext uri="{FF2B5EF4-FFF2-40B4-BE49-F238E27FC236}">
                <a16:creationId xmlns:a16="http://schemas.microsoft.com/office/drawing/2014/main" id="{DD919E72-E889-0649-A8B4-E02A931BB67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2654" y="2931560"/>
            <a:ext cx="3429416" cy="362969"/>
          </a:xfrm>
          <a:prstGeom prst="rect">
            <a:avLst/>
          </a:prstGeom>
        </p:spPr>
        <p:txBody>
          <a:bodyPr tIns="36000" bIns="36000" anchor="ctr" anchorCtr="0"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sp>
        <p:nvSpPr>
          <p:cNvPr id="22" name="Symbol zastępczy tekstu 36">
            <a:extLst>
              <a:ext uri="{FF2B5EF4-FFF2-40B4-BE49-F238E27FC236}">
                <a16:creationId xmlns:a16="http://schemas.microsoft.com/office/drawing/2014/main" id="{901B11EB-A30A-EF48-9220-4D35A9E140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21619" y="2931560"/>
            <a:ext cx="3429416" cy="362969"/>
          </a:xfrm>
          <a:prstGeom prst="rect">
            <a:avLst/>
          </a:prstGeom>
        </p:spPr>
        <p:txBody>
          <a:bodyPr tIns="36000" bIns="36000" anchor="ctr" anchorCtr="0"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sp>
        <p:nvSpPr>
          <p:cNvPr id="24" name="Symbol zastępczy tekstu 36">
            <a:extLst>
              <a:ext uri="{FF2B5EF4-FFF2-40B4-BE49-F238E27FC236}">
                <a16:creationId xmlns:a16="http://schemas.microsoft.com/office/drawing/2014/main" id="{BAE06EA4-EC43-994C-AEC1-15AE715E81C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400243" y="2931560"/>
            <a:ext cx="3429416" cy="362969"/>
          </a:xfrm>
          <a:prstGeom prst="rect">
            <a:avLst/>
          </a:prstGeom>
        </p:spPr>
        <p:txBody>
          <a:bodyPr tIns="36000" bIns="36000" anchor="ctr" anchorCtr="0"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sp>
        <p:nvSpPr>
          <p:cNvPr id="3" name="Symbol zastępczy tekstu 34">
            <a:extLst>
              <a:ext uri="{FF2B5EF4-FFF2-40B4-BE49-F238E27FC236}">
                <a16:creationId xmlns:a16="http://schemas.microsoft.com/office/drawing/2014/main" id="{76703AB9-23B1-EE70-B0D8-91C8B7858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073" y="31634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cxnSp>
        <p:nvCxnSpPr>
          <p:cNvPr id="6" name="Łącznik prosty 5">
            <a:extLst>
              <a:ext uri="{FF2B5EF4-FFF2-40B4-BE49-F238E27FC236}">
                <a16:creationId xmlns:a16="http://schemas.microsoft.com/office/drawing/2014/main" id="{4F6809B5-6BF5-49CF-2920-D213EB66562A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ymbol zastępczy tekstu 7">
            <a:extLst>
              <a:ext uri="{FF2B5EF4-FFF2-40B4-BE49-F238E27FC236}">
                <a16:creationId xmlns:a16="http://schemas.microsoft.com/office/drawing/2014/main" id="{81889A4C-EFB8-29AA-D59E-930110D7341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02654" y="3460760"/>
            <a:ext cx="3429416" cy="237443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11" name="Symbol zastępczy tekstu 7">
            <a:extLst>
              <a:ext uri="{FF2B5EF4-FFF2-40B4-BE49-F238E27FC236}">
                <a16:creationId xmlns:a16="http://schemas.microsoft.com/office/drawing/2014/main" id="{79DE69AC-33E8-297F-4BAF-307EDCEA97C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621619" y="3460760"/>
            <a:ext cx="3429416" cy="237443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12" name="Symbol zastępczy tekstu 7">
            <a:extLst>
              <a:ext uri="{FF2B5EF4-FFF2-40B4-BE49-F238E27FC236}">
                <a16:creationId xmlns:a16="http://schemas.microsoft.com/office/drawing/2014/main" id="{A1B4F941-E39A-6363-5F7A-34852BA104C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400243" y="3460760"/>
            <a:ext cx="3429416" cy="237443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74628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rostokąt z zaokrąglonym rogiem 3">
            <a:extLst>
              <a:ext uri="{FF2B5EF4-FFF2-40B4-BE49-F238E27FC236}">
                <a16:creationId xmlns:a16="http://schemas.microsoft.com/office/drawing/2014/main" id="{BC904DFA-A88F-4C4C-8D4B-BFCCAC880268}"/>
              </a:ext>
            </a:extLst>
          </p:cNvPr>
          <p:cNvSpPr/>
          <p:nvPr userDrawn="1"/>
        </p:nvSpPr>
        <p:spPr>
          <a:xfrm rot="10800000">
            <a:off x="10154585" y="-22230"/>
            <a:ext cx="2047461" cy="1934434"/>
          </a:xfrm>
          <a:prstGeom prst="round1Rect">
            <a:avLst>
              <a:gd name="adj" fmla="val 43142"/>
            </a:avLst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" name="Symbol zastępczy tekstu 36">
            <a:extLst>
              <a:ext uri="{FF2B5EF4-FFF2-40B4-BE49-F238E27FC236}">
                <a16:creationId xmlns:a16="http://schemas.microsoft.com/office/drawing/2014/main" id="{75D04A68-EC91-D64E-9268-A73B94922A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7073" y="2459805"/>
            <a:ext cx="7946664" cy="3748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ts val="2008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i="0" baseline="0">
                <a:solidFill>
                  <a:schemeClr val="tx1"/>
                </a:solidFill>
              </a:defRPr>
            </a:lvl1pPr>
          </a:lstStyle>
          <a:p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:</a:t>
            </a: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D081A87C-FACE-AE41-8723-AA5525EA80E7}"/>
              </a:ext>
            </a:extLst>
          </p:cNvPr>
          <p:cNvSpPr txBox="1"/>
          <p:nvPr userDrawn="1"/>
        </p:nvSpPr>
        <p:spPr>
          <a:xfrm>
            <a:off x="3579223" y="3148149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algn="l"/>
            <a:endParaRPr lang="en-US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124C5406-5A0A-7952-AC20-5D2DD8A74F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5" name="Symbol zastępczy tekstu 34">
            <a:extLst>
              <a:ext uri="{FF2B5EF4-FFF2-40B4-BE49-F238E27FC236}">
                <a16:creationId xmlns:a16="http://schemas.microsoft.com/office/drawing/2014/main" id="{DD63C898-04E2-A8F9-0240-C865455E26E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073" y="31634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cxnSp>
        <p:nvCxnSpPr>
          <p:cNvPr id="7" name="Łącznik prosty 6">
            <a:extLst>
              <a:ext uri="{FF2B5EF4-FFF2-40B4-BE49-F238E27FC236}">
                <a16:creationId xmlns:a16="http://schemas.microsoft.com/office/drawing/2014/main" id="{E5FC998C-727F-D015-0B1A-C8E841C58098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ymbol zastępczy tekstu 5">
            <a:extLst>
              <a:ext uri="{FF2B5EF4-FFF2-40B4-BE49-F238E27FC236}">
                <a16:creationId xmlns:a16="http://schemas.microsoft.com/office/drawing/2014/main" id="{F13D9F7E-9E25-16A1-BF53-6DEECC56B5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27071" y="2834639"/>
            <a:ext cx="9331327" cy="30554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252334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z zaokrąglonym rogiem 2">
            <a:extLst>
              <a:ext uri="{FF2B5EF4-FFF2-40B4-BE49-F238E27FC236}">
                <a16:creationId xmlns:a16="http://schemas.microsoft.com/office/drawing/2014/main" id="{532D4378-4CA1-3C45-9688-FF99F10C3228}"/>
              </a:ext>
            </a:extLst>
          </p:cNvPr>
          <p:cNvSpPr/>
          <p:nvPr userDrawn="1"/>
        </p:nvSpPr>
        <p:spPr>
          <a:xfrm rot="16200000">
            <a:off x="5550015" y="205963"/>
            <a:ext cx="5665301" cy="7638762"/>
          </a:xfrm>
          <a:prstGeom prst="round1Rect">
            <a:avLst>
              <a:gd name="adj" fmla="val 43142"/>
            </a:avLst>
          </a:prstGeom>
          <a:solidFill>
            <a:schemeClr val="accent5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accent5"/>
              </a:solidFill>
            </a:endParaRP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929D25E9-8D54-9A4F-80B5-67FE0896BD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84127" y="2131451"/>
            <a:ext cx="1938211" cy="142399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EAFC6EC9-3AE6-EE4D-B9D8-E73CF29B08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4125"/>
          <a:stretch/>
        </p:blipFill>
        <p:spPr>
          <a:xfrm rot="10800000">
            <a:off x="3912490" y="4519245"/>
            <a:ext cx="1810905" cy="1528897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7AE0CC54-CCCB-6842-B97E-95FC96ECC46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12" name="Prostokąt z zaokrąglonym rogiem 11">
            <a:extLst>
              <a:ext uri="{FF2B5EF4-FFF2-40B4-BE49-F238E27FC236}">
                <a16:creationId xmlns:a16="http://schemas.microsoft.com/office/drawing/2014/main" id="{9B0CC323-D08E-1F43-A69A-A2E2103D938D}"/>
              </a:ext>
            </a:extLst>
          </p:cNvPr>
          <p:cNvSpPr/>
          <p:nvPr userDrawn="1"/>
        </p:nvSpPr>
        <p:spPr>
          <a:xfrm rot="10800000">
            <a:off x="10154585" y="-22230"/>
            <a:ext cx="2047461" cy="1934434"/>
          </a:xfrm>
          <a:prstGeom prst="round1Rect">
            <a:avLst>
              <a:gd name="adj" fmla="val 43142"/>
            </a:avLst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4" name="Symbol zastępczy tekstu 36">
            <a:extLst>
              <a:ext uri="{FF2B5EF4-FFF2-40B4-BE49-F238E27FC236}">
                <a16:creationId xmlns:a16="http://schemas.microsoft.com/office/drawing/2014/main" id="{42386D0C-BC57-B349-BEDD-40F8AB8758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3097" y="5298464"/>
            <a:ext cx="2310429" cy="4914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Name</a:t>
            </a:r>
            <a:r>
              <a:rPr lang="pl-PL"/>
              <a:t> </a:t>
            </a:r>
            <a:r>
              <a:rPr lang="pl-PL" err="1"/>
              <a:t>Surname</a:t>
            </a:r>
            <a:endParaRPr lang="pl-PL"/>
          </a:p>
        </p:txBody>
      </p:sp>
      <p:sp>
        <p:nvSpPr>
          <p:cNvPr id="20" name="Symbol zastępczy tekstu 36">
            <a:extLst>
              <a:ext uri="{FF2B5EF4-FFF2-40B4-BE49-F238E27FC236}">
                <a16:creationId xmlns:a16="http://schemas.microsoft.com/office/drawing/2014/main" id="{128E31A1-0E57-6440-A881-759F5996209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93096" y="2519030"/>
            <a:ext cx="4127281" cy="24278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800" b="0" i="1" baseline="0">
                <a:solidFill>
                  <a:schemeClr val="tx1"/>
                </a:solidFill>
              </a:defRPr>
            </a:lvl1pPr>
          </a:lstStyle>
          <a:p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Etiam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acru</a:t>
            </a:r>
            <a:r>
              <a:rPr lang="pl-PL"/>
              <a:t>, </a:t>
            </a:r>
            <a:r>
              <a:rPr lang="pl-PL" err="1"/>
              <a:t>efficitur</a:t>
            </a:r>
            <a:r>
              <a:rPr lang="pl-PL"/>
              <a:t> non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, </a:t>
            </a:r>
            <a:r>
              <a:rPr lang="pl-PL" err="1"/>
              <a:t>faucibus</a:t>
            </a:r>
            <a:r>
              <a:rPr lang="pl-PL"/>
              <a:t> in </a:t>
            </a:r>
            <a:r>
              <a:rPr lang="pl-PL" err="1"/>
              <a:t>est</a:t>
            </a:r>
            <a:r>
              <a:rPr lang="pl-PL"/>
              <a:t>.</a:t>
            </a:r>
          </a:p>
        </p:txBody>
      </p:sp>
      <p:sp>
        <p:nvSpPr>
          <p:cNvPr id="2" name="Symbol zastępczy tekstu 34">
            <a:extLst>
              <a:ext uri="{FF2B5EF4-FFF2-40B4-BE49-F238E27FC236}">
                <a16:creationId xmlns:a16="http://schemas.microsoft.com/office/drawing/2014/main" id="{E35BD897-EA13-EEF3-4A68-E6AC8EDD18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073" y="31634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cxnSp>
        <p:nvCxnSpPr>
          <p:cNvPr id="6" name="Łącznik prosty 5">
            <a:extLst>
              <a:ext uri="{FF2B5EF4-FFF2-40B4-BE49-F238E27FC236}">
                <a16:creationId xmlns:a16="http://schemas.microsoft.com/office/drawing/2014/main" id="{4BAA5E9D-A9FD-6367-2DF2-D4A0173BEAF4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4447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ymbol zastępczy obrazu 38">
            <a:extLst>
              <a:ext uri="{FF2B5EF4-FFF2-40B4-BE49-F238E27FC236}">
                <a16:creationId xmlns:a16="http://schemas.microsoft.com/office/drawing/2014/main" id="{AD615C98-5C53-2B43-9FE1-9FCD3D3C0B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43425" y="-4763"/>
            <a:ext cx="7648575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2" name="Prostokąt z zaokrąglonym rogiem 1">
            <a:extLst>
              <a:ext uri="{FF2B5EF4-FFF2-40B4-BE49-F238E27FC236}">
                <a16:creationId xmlns:a16="http://schemas.microsoft.com/office/drawing/2014/main" id="{97A23517-7388-C940-A4B7-6260A1FBB7E2}"/>
              </a:ext>
            </a:extLst>
          </p:cNvPr>
          <p:cNvSpPr/>
          <p:nvPr userDrawn="1"/>
        </p:nvSpPr>
        <p:spPr>
          <a:xfrm rot="5400000">
            <a:off x="-1156995" y="1156992"/>
            <a:ext cx="6858001" cy="4544018"/>
          </a:xfrm>
          <a:prstGeom prst="round1Rect">
            <a:avLst>
              <a:gd name="adj" fmla="val 0"/>
            </a:avLst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523330CE-84A1-8441-0745-993AB9FF94B6}"/>
              </a:ext>
            </a:extLst>
          </p:cNvPr>
          <p:cNvSpPr txBox="1"/>
          <p:nvPr userDrawn="1"/>
        </p:nvSpPr>
        <p:spPr>
          <a:xfrm>
            <a:off x="11915775" y="8301038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algn="l"/>
            <a:endParaRPr lang="pl-PL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528D7D7E-3276-8759-8ACF-92FE5A236B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6" name="Symbol zastępczy tekstu 34">
            <a:extLst>
              <a:ext uri="{FF2B5EF4-FFF2-40B4-BE49-F238E27FC236}">
                <a16:creationId xmlns:a16="http://schemas.microsoft.com/office/drawing/2014/main" id="{9D494329-12DF-0074-229B-F431FF091E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073" y="31634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cxnSp>
        <p:nvCxnSpPr>
          <p:cNvPr id="8" name="Łącznik prosty 7">
            <a:extLst>
              <a:ext uri="{FF2B5EF4-FFF2-40B4-BE49-F238E27FC236}">
                <a16:creationId xmlns:a16="http://schemas.microsoft.com/office/drawing/2014/main" id="{A433241C-459C-C2E0-FAD4-64E43B921E01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CE23B015-2948-F6CA-0097-C5B3F2DC1CD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7625" y="3758912"/>
            <a:ext cx="3496004" cy="2460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40166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obrazu 38">
            <a:extLst>
              <a:ext uri="{FF2B5EF4-FFF2-40B4-BE49-F238E27FC236}">
                <a16:creationId xmlns:a16="http://schemas.microsoft.com/office/drawing/2014/main" id="{F5B3A140-FDC1-024A-A857-96DB03AD56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4763"/>
            <a:ext cx="12192000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8EAC0DF4-F021-65B1-939F-CC4F05DB94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9499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ullscreen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obrazu 38">
            <a:extLst>
              <a:ext uri="{FF2B5EF4-FFF2-40B4-BE49-F238E27FC236}">
                <a16:creationId xmlns:a16="http://schemas.microsoft.com/office/drawing/2014/main" id="{90D3D7DB-E71C-BF45-9ABF-BD941C639AC8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187128" y="-4763"/>
            <a:ext cx="6004872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3" name="Symbol zastępczy obrazu 38">
            <a:extLst>
              <a:ext uri="{FF2B5EF4-FFF2-40B4-BE49-F238E27FC236}">
                <a16:creationId xmlns:a16="http://schemas.microsoft.com/office/drawing/2014/main" id="{F5B3A140-FDC1-024A-A857-96DB03AD56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-4763"/>
            <a:ext cx="6004872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CAAF2AD0-4DAB-0E49-F665-EE163B370F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490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BLACK and WHIT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ytuł 13">
            <a:extLst>
              <a:ext uri="{FF2B5EF4-FFF2-40B4-BE49-F238E27FC236}">
                <a16:creationId xmlns:a16="http://schemas.microsoft.com/office/drawing/2014/main" id="{0ADAB18A-53E9-EC42-9123-8CBC09144B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445276"/>
            <a:ext cx="10515600" cy="748245"/>
          </a:xfrm>
          <a:prstGeom prst="rect">
            <a:avLst/>
          </a:prstGeom>
        </p:spPr>
        <p:txBody>
          <a:bodyPr/>
          <a:lstStyle>
            <a:lvl1pPr algn="ctr">
              <a:defRPr sz="6000" b="0" i="0" cap="all" baseline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Presentation TITLE</a:t>
            </a:r>
          </a:p>
        </p:txBody>
      </p:sp>
      <p:sp>
        <p:nvSpPr>
          <p:cNvPr id="18" name="Symbol zastępczy tekstu 15">
            <a:extLst>
              <a:ext uri="{FF2B5EF4-FFF2-40B4-BE49-F238E27FC236}">
                <a16:creationId xmlns:a16="http://schemas.microsoft.com/office/drawing/2014/main" id="{C0CC791A-447C-7F4C-B414-C457066B74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2847" y="4077990"/>
            <a:ext cx="5226306" cy="160655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4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pl-PL"/>
              <a:t>Speaker</a:t>
            </a:r>
            <a:br>
              <a:rPr lang="pl-PL"/>
            </a:br>
            <a:r>
              <a:rPr lang="pl-PL" err="1"/>
              <a:t>Date</a:t>
            </a:r>
            <a:br>
              <a:rPr lang="pl-PL"/>
            </a:br>
            <a:r>
              <a:rPr lang="pl-PL" err="1"/>
              <a:t>Location</a:t>
            </a:r>
            <a:br>
              <a:rPr lang="pl-PL"/>
            </a:br>
            <a:r>
              <a:rPr lang="pl-PL"/>
              <a:t>etc.</a:t>
            </a: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818661C1-4DF8-8E57-FB9A-FBDBE79F55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72050" y="1385581"/>
            <a:ext cx="1847900" cy="420950"/>
          </a:xfrm>
          <a:prstGeom prst="rect">
            <a:avLst/>
          </a:prstGeom>
        </p:spPr>
      </p:pic>
      <p:cxnSp>
        <p:nvCxnSpPr>
          <p:cNvPr id="3" name="Łącznik prosty 2">
            <a:extLst>
              <a:ext uri="{FF2B5EF4-FFF2-40B4-BE49-F238E27FC236}">
                <a16:creationId xmlns:a16="http://schemas.microsoft.com/office/drawing/2014/main" id="{70A4A619-CB9A-9E96-7DB2-892EF5921AF0}"/>
              </a:ext>
            </a:extLst>
          </p:cNvPr>
          <p:cNvCxnSpPr>
            <a:cxnSpLocks/>
          </p:cNvCxnSpPr>
          <p:nvPr userDrawn="1"/>
        </p:nvCxnSpPr>
        <p:spPr>
          <a:xfrm>
            <a:off x="5146745" y="3433036"/>
            <a:ext cx="1898510" cy="0"/>
          </a:xfrm>
          <a:prstGeom prst="line">
            <a:avLst/>
          </a:prstGeom>
          <a:ln w="165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35715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ymbol zastępczy obrazu 38">
            <a:extLst>
              <a:ext uri="{FF2B5EF4-FFF2-40B4-BE49-F238E27FC236}">
                <a16:creationId xmlns:a16="http://schemas.microsoft.com/office/drawing/2014/main" id="{A869BDA7-2EC4-394E-9812-ED24EB4292C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39538" y="-4763"/>
            <a:ext cx="8752462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11" name="Symbol zastępczy zawartości 24">
            <a:extLst>
              <a:ext uri="{FF2B5EF4-FFF2-40B4-BE49-F238E27FC236}">
                <a16:creationId xmlns:a16="http://schemas.microsoft.com/office/drawing/2014/main" id="{54982511-DD22-F342-B259-F639CD05F87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0644718" y="6299036"/>
            <a:ext cx="1262141" cy="287343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>
                <a:noFill/>
              </a:defRPr>
            </a:lvl1pPr>
          </a:lstStyle>
          <a:p>
            <a:r>
              <a:rPr lang="pl-PL"/>
              <a:t>logo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27C59DDC-D521-7957-9814-6E099E541EC5}"/>
              </a:ext>
            </a:extLst>
          </p:cNvPr>
          <p:cNvSpPr txBox="1"/>
          <p:nvPr userDrawn="1"/>
        </p:nvSpPr>
        <p:spPr>
          <a:xfrm>
            <a:off x="10273553" y="-537882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algn="l"/>
            <a:endParaRPr lang="pl-PL"/>
          </a:p>
        </p:txBody>
      </p:sp>
      <p:sp>
        <p:nvSpPr>
          <p:cNvPr id="3" name="Symbol zastępczy tekstu 36">
            <a:extLst>
              <a:ext uri="{FF2B5EF4-FFF2-40B4-BE49-F238E27FC236}">
                <a16:creationId xmlns:a16="http://schemas.microsoft.com/office/drawing/2014/main" id="{F7152284-02D1-9CF9-C1E5-995D3665EF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7624" y="790928"/>
            <a:ext cx="2245887" cy="54257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ts val="2008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i="0" baseline="0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27BECE2D-894E-A14C-DA6D-F2E543A279F7}"/>
              </a:ext>
            </a:extLst>
          </p:cNvPr>
          <p:cNvSpPr txBox="1"/>
          <p:nvPr userDrawn="1"/>
        </p:nvSpPr>
        <p:spPr>
          <a:xfrm>
            <a:off x="3559774" y="1479272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algn="l"/>
            <a:endParaRPr lang="en-US"/>
          </a:p>
        </p:txBody>
      </p:sp>
      <p:sp>
        <p:nvSpPr>
          <p:cNvPr id="6" name="Symbol zastępczy tekstu 5">
            <a:extLst>
              <a:ext uri="{FF2B5EF4-FFF2-40B4-BE49-F238E27FC236}">
                <a16:creationId xmlns:a16="http://schemas.microsoft.com/office/drawing/2014/main" id="{BD21748B-F138-6FC1-8F05-9F2D4389DDC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7622" y="1403887"/>
            <a:ext cx="2245887" cy="37110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090D4159-A569-6A53-0628-E96667B28310}"/>
              </a:ext>
            </a:extLst>
          </p:cNvPr>
          <p:cNvSpPr txBox="1"/>
          <p:nvPr userDrawn="1"/>
        </p:nvSpPr>
        <p:spPr>
          <a:xfrm>
            <a:off x="1447800" y="914400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algn="l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791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background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ymbol zastępczy obrazu 38">
            <a:extLst>
              <a:ext uri="{FF2B5EF4-FFF2-40B4-BE49-F238E27FC236}">
                <a16:creationId xmlns:a16="http://schemas.microsoft.com/office/drawing/2014/main" id="{78AC3F8D-67BF-D84F-A272-8B7E4CBD8F7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4763"/>
            <a:ext cx="12192000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17" name="Symbol zastępczy zawartości 24">
            <a:extLst>
              <a:ext uri="{FF2B5EF4-FFF2-40B4-BE49-F238E27FC236}">
                <a16:creationId xmlns:a16="http://schemas.microsoft.com/office/drawing/2014/main" id="{B61CE050-4F2D-BE49-8EB4-9FCF9ABE3B2C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0644718" y="6299036"/>
            <a:ext cx="1262141" cy="287343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>
                <a:noFill/>
              </a:defRPr>
            </a:lvl1pPr>
          </a:lstStyle>
          <a:p>
            <a:r>
              <a:rPr lang="pl-PL"/>
              <a:t>logo</a:t>
            </a:r>
          </a:p>
        </p:txBody>
      </p:sp>
      <p:sp>
        <p:nvSpPr>
          <p:cNvPr id="8" name="Prostokąt 7">
            <a:extLst>
              <a:ext uri="{FF2B5EF4-FFF2-40B4-BE49-F238E27FC236}">
                <a16:creationId xmlns:a16="http://schemas.microsoft.com/office/drawing/2014/main" id="{71D6F261-DB26-5515-9338-32C38B2F973B}"/>
              </a:ext>
            </a:extLst>
          </p:cNvPr>
          <p:cNvSpPr/>
          <p:nvPr userDrawn="1"/>
        </p:nvSpPr>
        <p:spPr>
          <a:xfrm>
            <a:off x="3823991" y="1821657"/>
            <a:ext cx="4544018" cy="32146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9" name="Symbol zastępczy tekstu 36">
            <a:extLst>
              <a:ext uri="{FF2B5EF4-FFF2-40B4-BE49-F238E27FC236}">
                <a16:creationId xmlns:a16="http://schemas.microsoft.com/office/drawing/2014/main" id="{691B9493-FF2A-FE4F-9590-D1D3CE16DA5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81292" y="2421467"/>
            <a:ext cx="3429416" cy="2009131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800">
                <a:solidFill>
                  <a:schemeClr val="bg2"/>
                </a:solidFill>
              </a:defRPr>
            </a:lvl1pPr>
          </a:lstStyle>
          <a:p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Etiam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acru</a:t>
            </a:r>
            <a:r>
              <a:rPr lang="pl-PL"/>
              <a:t>, </a:t>
            </a:r>
            <a:r>
              <a:rPr lang="pl-PL" err="1"/>
              <a:t>efficitur</a:t>
            </a:r>
            <a:r>
              <a:rPr lang="pl-PL"/>
              <a:t> non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, </a:t>
            </a:r>
            <a:r>
              <a:rPr lang="pl-PL" err="1"/>
              <a:t>faucibus</a:t>
            </a:r>
            <a:r>
              <a:rPr lang="pl-PL"/>
              <a:t> in </a:t>
            </a:r>
            <a:r>
              <a:rPr lang="pl-PL" err="1"/>
              <a:t>est</a:t>
            </a:r>
            <a:r>
              <a:rPr lang="pl-P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8047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mockup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z zaokrąglonym rogiem 2">
            <a:extLst>
              <a:ext uri="{FF2B5EF4-FFF2-40B4-BE49-F238E27FC236}">
                <a16:creationId xmlns:a16="http://schemas.microsoft.com/office/drawing/2014/main" id="{20A25FBD-41E7-E84D-A444-9C89BA879FFE}"/>
              </a:ext>
            </a:extLst>
          </p:cNvPr>
          <p:cNvSpPr/>
          <p:nvPr userDrawn="1"/>
        </p:nvSpPr>
        <p:spPr>
          <a:xfrm rot="5400000">
            <a:off x="6490991" y="1156993"/>
            <a:ext cx="6858001" cy="4544018"/>
          </a:xfrm>
          <a:prstGeom prst="round1Rect">
            <a:avLst>
              <a:gd name="adj" fmla="val 0"/>
            </a:avLst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9" name="Symbol zastępczy tekstu 34">
            <a:extLst>
              <a:ext uri="{FF2B5EF4-FFF2-40B4-BE49-F238E27FC236}">
                <a16:creationId xmlns:a16="http://schemas.microsoft.com/office/drawing/2014/main" id="{F09CBD25-61C3-EB44-B7A5-413A35B7C8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59541" y="31559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0"/>
              </a:spcBef>
              <a:buNone/>
              <a:defRPr sz="30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pic>
        <p:nvPicPr>
          <p:cNvPr id="12" name="Obraz 11">
            <a:extLst>
              <a:ext uri="{FF2B5EF4-FFF2-40B4-BE49-F238E27FC236}">
                <a16:creationId xmlns:a16="http://schemas.microsoft.com/office/drawing/2014/main" id="{6079666D-0FC7-574A-AC32-78E357C36E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996" t="13557" r="9027"/>
          <a:stretch/>
        </p:blipFill>
        <p:spPr>
          <a:xfrm>
            <a:off x="-1" y="0"/>
            <a:ext cx="7647983" cy="6857999"/>
          </a:xfrm>
          <a:prstGeom prst="rect">
            <a:avLst/>
          </a:prstGeom>
        </p:spPr>
      </p:pic>
      <p:sp>
        <p:nvSpPr>
          <p:cNvPr id="15" name="Symbol zastępczy obrazu 38">
            <a:extLst>
              <a:ext uri="{FF2B5EF4-FFF2-40B4-BE49-F238E27FC236}">
                <a16:creationId xmlns:a16="http://schemas.microsoft.com/office/drawing/2014/main" id="{F2DEC5D4-1D8D-9241-9BC0-B62066FCA0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28725" y="1721047"/>
            <a:ext cx="4479226" cy="2511722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F80545F0-A1CB-3DAE-A6B8-21A9333E2D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cxnSp>
        <p:nvCxnSpPr>
          <p:cNvPr id="10" name="Łącznik prosty 9">
            <a:extLst>
              <a:ext uri="{FF2B5EF4-FFF2-40B4-BE49-F238E27FC236}">
                <a16:creationId xmlns:a16="http://schemas.microsoft.com/office/drawing/2014/main" id="{C6340C85-3ED0-7497-A931-9CB6C9BDDBDE}"/>
              </a:ext>
            </a:extLst>
          </p:cNvPr>
          <p:cNvCxnSpPr>
            <a:cxnSpLocks/>
          </p:cNvCxnSpPr>
          <p:nvPr userDrawn="1"/>
        </p:nvCxnSpPr>
        <p:spPr>
          <a:xfrm>
            <a:off x="995739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8D9643FA-BAD0-AC93-1B5B-96F85A261EE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18740" y="3428999"/>
            <a:ext cx="3734131" cy="24610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6288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mockup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z zaokrąglonym rogiem 2">
            <a:extLst>
              <a:ext uri="{FF2B5EF4-FFF2-40B4-BE49-F238E27FC236}">
                <a16:creationId xmlns:a16="http://schemas.microsoft.com/office/drawing/2014/main" id="{20A25FBD-41E7-E84D-A444-9C89BA879FFE}"/>
              </a:ext>
            </a:extLst>
          </p:cNvPr>
          <p:cNvSpPr/>
          <p:nvPr userDrawn="1"/>
        </p:nvSpPr>
        <p:spPr>
          <a:xfrm rot="5400000">
            <a:off x="6490991" y="1156993"/>
            <a:ext cx="6858001" cy="4544018"/>
          </a:xfrm>
          <a:prstGeom prst="round1Rect">
            <a:avLst>
              <a:gd name="adj" fmla="val 0"/>
            </a:avLst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12" name="Obraz 11">
            <a:extLst>
              <a:ext uri="{FF2B5EF4-FFF2-40B4-BE49-F238E27FC236}">
                <a16:creationId xmlns:a16="http://schemas.microsoft.com/office/drawing/2014/main" id="{6079666D-0FC7-574A-AC32-78E357C36E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720" r="12934"/>
          <a:stretch/>
        </p:blipFill>
        <p:spPr>
          <a:xfrm>
            <a:off x="-1" y="0"/>
            <a:ext cx="7647983" cy="6858000"/>
          </a:xfrm>
          <a:prstGeom prst="rect">
            <a:avLst/>
          </a:prstGeom>
        </p:spPr>
      </p:pic>
      <p:sp>
        <p:nvSpPr>
          <p:cNvPr id="15" name="Symbol zastępczy obrazu 38">
            <a:extLst>
              <a:ext uri="{FF2B5EF4-FFF2-40B4-BE49-F238E27FC236}">
                <a16:creationId xmlns:a16="http://schemas.microsoft.com/office/drawing/2014/main" id="{F2DEC5D4-1D8D-9241-9BC0-B62066FCA0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58387" y="1322770"/>
            <a:ext cx="4960613" cy="2847527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069A86F2-E19A-1773-B3A0-A33B4823EC5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4" name="Symbol zastępczy tekstu 34">
            <a:extLst>
              <a:ext uri="{FF2B5EF4-FFF2-40B4-BE49-F238E27FC236}">
                <a16:creationId xmlns:a16="http://schemas.microsoft.com/office/drawing/2014/main" id="{408438CE-B1C6-005C-606D-5615385611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59541" y="31559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0"/>
              </a:spcBef>
              <a:buNone/>
              <a:defRPr sz="30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cxnSp>
        <p:nvCxnSpPr>
          <p:cNvPr id="5" name="Łącznik prosty 4">
            <a:extLst>
              <a:ext uri="{FF2B5EF4-FFF2-40B4-BE49-F238E27FC236}">
                <a16:creationId xmlns:a16="http://schemas.microsoft.com/office/drawing/2014/main" id="{9C150D8E-269B-4201-495D-6D2A638E5FD7}"/>
              </a:ext>
            </a:extLst>
          </p:cNvPr>
          <p:cNvCxnSpPr>
            <a:cxnSpLocks/>
          </p:cNvCxnSpPr>
          <p:nvPr userDrawn="1"/>
        </p:nvCxnSpPr>
        <p:spPr>
          <a:xfrm>
            <a:off x="995739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ymbol zastępczy tekstu 4">
            <a:extLst>
              <a:ext uri="{FF2B5EF4-FFF2-40B4-BE49-F238E27FC236}">
                <a16:creationId xmlns:a16="http://schemas.microsoft.com/office/drawing/2014/main" id="{C7A905E1-800D-FB12-B41C-1F38E63ADAE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18740" y="3428999"/>
            <a:ext cx="3734131" cy="24610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274961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obrazu 38">
            <a:extLst>
              <a:ext uri="{FF2B5EF4-FFF2-40B4-BE49-F238E27FC236}">
                <a16:creationId xmlns:a16="http://schemas.microsoft.com/office/drawing/2014/main" id="{E47EE988-66F6-5F47-90F8-0E5A5B21E9B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47982" y="-4763"/>
            <a:ext cx="4544018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BB0B29F2-9227-9438-15CB-C1093DA0B8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3" name="Symbol zastępczy tekstu 34">
            <a:extLst>
              <a:ext uri="{FF2B5EF4-FFF2-40B4-BE49-F238E27FC236}">
                <a16:creationId xmlns:a16="http://schemas.microsoft.com/office/drawing/2014/main" id="{16593461-78EE-2A39-B1A4-BFE65AE5F0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073" y="31634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cxnSp>
        <p:nvCxnSpPr>
          <p:cNvPr id="5" name="Łącznik prosty 4">
            <a:extLst>
              <a:ext uri="{FF2B5EF4-FFF2-40B4-BE49-F238E27FC236}">
                <a16:creationId xmlns:a16="http://schemas.microsoft.com/office/drawing/2014/main" id="{D39759DB-A298-ACCC-18EC-D4E6CECD34A9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ymbol zastępczy tekstu 5">
            <a:extLst>
              <a:ext uri="{FF2B5EF4-FFF2-40B4-BE49-F238E27FC236}">
                <a16:creationId xmlns:a16="http://schemas.microsoft.com/office/drawing/2014/main" id="{49A16E31-8BB3-F422-FA99-52738B725E2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2655" y="3294528"/>
            <a:ext cx="6055344" cy="324712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9" name="Symbol zastępczy tekstu 36">
            <a:extLst>
              <a:ext uri="{FF2B5EF4-FFF2-40B4-BE49-F238E27FC236}">
                <a16:creationId xmlns:a16="http://schemas.microsoft.com/office/drawing/2014/main" id="{DE35CE6A-FFAD-9E64-E41C-F43CEE5689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2656" y="2919694"/>
            <a:ext cx="6055344" cy="3748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ts val="2008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i="0" baseline="0">
                <a:solidFill>
                  <a:schemeClr val="tx1"/>
                </a:solidFill>
              </a:defRPr>
            </a:lvl1pPr>
          </a:lstStyle>
          <a:p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500357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ogan + fullscreen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obrazu 38">
            <a:extLst>
              <a:ext uri="{FF2B5EF4-FFF2-40B4-BE49-F238E27FC236}">
                <a16:creationId xmlns:a16="http://schemas.microsoft.com/office/drawing/2014/main" id="{F5B3A140-FDC1-024A-A857-96DB03AD56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2763"/>
          </a:xfrm>
          <a:prstGeom prst="rect">
            <a:avLst/>
          </a:prstGeom>
          <a:pattFill prst="pct9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7" name="Symbol zastępczy tekstu 36">
            <a:extLst>
              <a:ext uri="{FF2B5EF4-FFF2-40B4-BE49-F238E27FC236}">
                <a16:creationId xmlns:a16="http://schemas.microsoft.com/office/drawing/2014/main" id="{20C58C23-C71E-CF4F-88DA-DE38539853F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85554" y="1112363"/>
            <a:ext cx="7820891" cy="469454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4200" b="1" i="0" baseline="0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big, </a:t>
            </a:r>
            <a:br>
              <a:rPr lang="pl-PL"/>
            </a:br>
            <a:r>
              <a:rPr lang="pl-PL" err="1"/>
              <a:t>important</a:t>
            </a:r>
            <a:r>
              <a:rPr lang="pl-PL"/>
              <a:t> slogan. </a:t>
            </a:r>
            <a:br>
              <a:rPr lang="pl-PL"/>
            </a:br>
            <a:r>
              <a:rPr lang="pl-PL"/>
              <a:t>Big </a:t>
            </a:r>
            <a:r>
              <a:rPr lang="pl-PL" err="1"/>
              <a:t>words</a:t>
            </a:r>
            <a:r>
              <a:rPr lang="pl-PL"/>
              <a:t>. </a:t>
            </a:r>
            <a:br>
              <a:rPr lang="pl-PL"/>
            </a:br>
            <a:r>
              <a:rPr lang="pl-PL" err="1"/>
              <a:t>Inspiring</a:t>
            </a:r>
            <a:r>
              <a:rPr lang="pl-PL"/>
              <a:t> and </a:t>
            </a:r>
            <a:r>
              <a:rPr lang="pl-PL" err="1"/>
              <a:t>beautiful</a:t>
            </a:r>
            <a:r>
              <a:rPr lang="pl-PL"/>
              <a:t>. </a:t>
            </a: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125A7143-BF3C-A418-BDC7-E62C11AD2F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10" name="pole tekstowe 9">
            <a:extLst>
              <a:ext uri="{FF2B5EF4-FFF2-40B4-BE49-F238E27FC236}">
                <a16:creationId xmlns:a16="http://schemas.microsoft.com/office/drawing/2014/main" id="{509E3AE0-72B1-3979-D998-D631AD4C24AF}"/>
              </a:ext>
            </a:extLst>
          </p:cNvPr>
          <p:cNvSpPr txBox="1"/>
          <p:nvPr userDrawn="1"/>
        </p:nvSpPr>
        <p:spPr>
          <a:xfrm>
            <a:off x="12911328" y="1316736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algn="l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947276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ogan + fullscreen B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obrazu 38">
            <a:extLst>
              <a:ext uri="{FF2B5EF4-FFF2-40B4-BE49-F238E27FC236}">
                <a16:creationId xmlns:a16="http://schemas.microsoft.com/office/drawing/2014/main" id="{F5B3A140-FDC1-024A-A857-96DB03AD56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7" name="Symbol zastępczy tekstu 36">
            <a:extLst>
              <a:ext uri="{FF2B5EF4-FFF2-40B4-BE49-F238E27FC236}">
                <a16:creationId xmlns:a16="http://schemas.microsoft.com/office/drawing/2014/main" id="{20C58C23-C71E-CF4F-88DA-DE38539853F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85554" y="1112363"/>
            <a:ext cx="7820891" cy="469454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4200" b="1" i="0" baseline="0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big, </a:t>
            </a:r>
            <a:br>
              <a:rPr lang="pl-PL"/>
            </a:br>
            <a:r>
              <a:rPr lang="pl-PL" err="1"/>
              <a:t>important</a:t>
            </a:r>
            <a:r>
              <a:rPr lang="pl-PL"/>
              <a:t> slogan. </a:t>
            </a:r>
            <a:br>
              <a:rPr lang="pl-PL"/>
            </a:br>
            <a:r>
              <a:rPr lang="pl-PL"/>
              <a:t>Big </a:t>
            </a:r>
            <a:r>
              <a:rPr lang="pl-PL" err="1"/>
              <a:t>words</a:t>
            </a:r>
            <a:r>
              <a:rPr lang="pl-PL"/>
              <a:t>. </a:t>
            </a:r>
            <a:br>
              <a:rPr lang="pl-PL"/>
            </a:br>
            <a:r>
              <a:rPr lang="pl-PL" err="1"/>
              <a:t>Inspiring</a:t>
            </a:r>
            <a:r>
              <a:rPr lang="pl-PL"/>
              <a:t> and </a:t>
            </a:r>
            <a:r>
              <a:rPr lang="pl-PL" err="1"/>
              <a:t>beautiful</a:t>
            </a:r>
            <a:r>
              <a:rPr lang="pl-PL"/>
              <a:t>. </a:t>
            </a: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125A7143-BF3C-A418-BDC7-E62C11AD2F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10" name="pole tekstowe 9">
            <a:extLst>
              <a:ext uri="{FF2B5EF4-FFF2-40B4-BE49-F238E27FC236}">
                <a16:creationId xmlns:a16="http://schemas.microsoft.com/office/drawing/2014/main" id="{509E3AE0-72B1-3979-D998-D631AD4C24AF}"/>
              </a:ext>
            </a:extLst>
          </p:cNvPr>
          <p:cNvSpPr txBox="1"/>
          <p:nvPr userDrawn="1"/>
        </p:nvSpPr>
        <p:spPr>
          <a:xfrm>
            <a:off x="12911328" y="1316736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algn="l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8046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+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ymbol zastępczy obrazu 38">
            <a:extLst>
              <a:ext uri="{FF2B5EF4-FFF2-40B4-BE49-F238E27FC236}">
                <a16:creationId xmlns:a16="http://schemas.microsoft.com/office/drawing/2014/main" id="{10674147-07DB-6248-A9AC-87C75A9B82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43425" y="-4763"/>
            <a:ext cx="7648575" cy="3219451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8" name="Prostokąt z zaokrąglonym rogiem 7">
            <a:extLst>
              <a:ext uri="{FF2B5EF4-FFF2-40B4-BE49-F238E27FC236}">
                <a16:creationId xmlns:a16="http://schemas.microsoft.com/office/drawing/2014/main" id="{C0DD506C-FEB4-DC42-AFE8-0820E86F7206}"/>
              </a:ext>
            </a:extLst>
          </p:cNvPr>
          <p:cNvSpPr/>
          <p:nvPr userDrawn="1"/>
        </p:nvSpPr>
        <p:spPr>
          <a:xfrm rot="5400000">
            <a:off x="-1156995" y="1156992"/>
            <a:ext cx="6858001" cy="4544018"/>
          </a:xfrm>
          <a:prstGeom prst="round1Rect">
            <a:avLst>
              <a:gd name="adj" fmla="val 0"/>
            </a:avLst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29" name="Obraz 28">
            <a:extLst>
              <a:ext uri="{FF2B5EF4-FFF2-40B4-BE49-F238E27FC236}">
                <a16:creationId xmlns:a16="http://schemas.microsoft.com/office/drawing/2014/main" id="{8C3B11F0-479E-B341-B586-42C1279C66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41" name="Symbol zastępczy tekstu 36">
            <a:extLst>
              <a:ext uri="{FF2B5EF4-FFF2-40B4-BE49-F238E27FC236}">
                <a16:creationId xmlns:a16="http://schemas.microsoft.com/office/drawing/2014/main" id="{D96689C4-8C50-394A-B93F-FE30424D1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2132" y="3727916"/>
            <a:ext cx="6265968" cy="3495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008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</a:t>
            </a:r>
          </a:p>
        </p:txBody>
      </p:sp>
      <p:sp>
        <p:nvSpPr>
          <p:cNvPr id="44" name="Symbol zastępczy tekstu 36">
            <a:extLst>
              <a:ext uri="{FF2B5EF4-FFF2-40B4-BE49-F238E27FC236}">
                <a16:creationId xmlns:a16="http://schemas.microsoft.com/office/drawing/2014/main" id="{19629BE4-238D-B14D-9DEB-B553CD3793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92854" y="4959981"/>
            <a:ext cx="1610039" cy="94119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</a:t>
            </a:r>
            <a:br>
              <a:rPr lang="pl-PL"/>
            </a:br>
            <a:r>
              <a:rPr lang="pl-PL" err="1"/>
              <a:t>pictogram</a:t>
            </a:r>
            <a:endParaRPr lang="pl-PL"/>
          </a:p>
        </p:txBody>
      </p:sp>
      <p:sp>
        <p:nvSpPr>
          <p:cNvPr id="47" name="Symbol zastępczy obrazu 46">
            <a:extLst>
              <a:ext uri="{FF2B5EF4-FFF2-40B4-BE49-F238E27FC236}">
                <a16:creationId xmlns:a16="http://schemas.microsoft.com/office/drawing/2014/main" id="{2B7E64C2-11A0-584F-8385-4D43A81BF28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391030" y="4221733"/>
            <a:ext cx="613687" cy="64309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pl-PL" err="1"/>
              <a:t>picto</a:t>
            </a:r>
            <a:endParaRPr lang="pl-PL"/>
          </a:p>
        </p:txBody>
      </p:sp>
      <p:sp>
        <p:nvSpPr>
          <p:cNvPr id="54" name="Symbol zastępczy tekstu 36">
            <a:extLst>
              <a:ext uri="{FF2B5EF4-FFF2-40B4-BE49-F238E27FC236}">
                <a16:creationId xmlns:a16="http://schemas.microsoft.com/office/drawing/2014/main" id="{761A7A4B-C86C-2C4B-8825-2C5EF799F4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93943" y="4959981"/>
            <a:ext cx="1610039" cy="94119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</a:t>
            </a:r>
            <a:br>
              <a:rPr lang="pl-PL"/>
            </a:br>
            <a:r>
              <a:rPr lang="pl-PL" err="1"/>
              <a:t>pictogram</a:t>
            </a:r>
            <a:endParaRPr lang="pl-PL"/>
          </a:p>
        </p:txBody>
      </p:sp>
      <p:sp>
        <p:nvSpPr>
          <p:cNvPr id="55" name="Symbol zastępczy obrazu 46">
            <a:extLst>
              <a:ext uri="{FF2B5EF4-FFF2-40B4-BE49-F238E27FC236}">
                <a16:creationId xmlns:a16="http://schemas.microsoft.com/office/drawing/2014/main" id="{5FDCC259-0E31-504D-BF61-930424E206C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192119" y="4221733"/>
            <a:ext cx="613687" cy="64309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pl-PL" err="1"/>
              <a:t>picto</a:t>
            </a:r>
            <a:endParaRPr lang="pl-PL"/>
          </a:p>
        </p:txBody>
      </p:sp>
      <p:sp>
        <p:nvSpPr>
          <p:cNvPr id="56" name="Symbol zastępczy tekstu 36">
            <a:extLst>
              <a:ext uri="{FF2B5EF4-FFF2-40B4-BE49-F238E27FC236}">
                <a16:creationId xmlns:a16="http://schemas.microsoft.com/office/drawing/2014/main" id="{EDA4EBF5-2067-A846-8445-C390747F61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67315" y="4959981"/>
            <a:ext cx="1610039" cy="94119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</a:t>
            </a:r>
            <a:br>
              <a:rPr lang="pl-PL"/>
            </a:br>
            <a:r>
              <a:rPr lang="pl-PL" err="1"/>
              <a:t>pictogram</a:t>
            </a:r>
            <a:endParaRPr lang="pl-PL"/>
          </a:p>
        </p:txBody>
      </p:sp>
      <p:sp>
        <p:nvSpPr>
          <p:cNvPr id="57" name="Symbol zastępczy obrazu 46">
            <a:extLst>
              <a:ext uri="{FF2B5EF4-FFF2-40B4-BE49-F238E27FC236}">
                <a16:creationId xmlns:a16="http://schemas.microsoft.com/office/drawing/2014/main" id="{B0E30C37-950F-0E4A-BF89-61E1418604D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965491" y="4221733"/>
            <a:ext cx="613687" cy="64309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pl-PL" err="1"/>
              <a:t>picto</a:t>
            </a:r>
            <a:endParaRPr lang="pl-PL"/>
          </a:p>
        </p:txBody>
      </p:sp>
      <p:sp>
        <p:nvSpPr>
          <p:cNvPr id="58" name="Symbol zastępczy tekstu 36">
            <a:extLst>
              <a:ext uri="{FF2B5EF4-FFF2-40B4-BE49-F238E27FC236}">
                <a16:creationId xmlns:a16="http://schemas.microsoft.com/office/drawing/2014/main" id="{D69670EC-49BB-8945-A7AB-B3F45E45C7C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226839" y="4959981"/>
            <a:ext cx="1610039" cy="9411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br>
              <a:rPr lang="pl-PL"/>
            </a:br>
            <a:r>
              <a:rPr lang="pl-PL" err="1"/>
              <a:t>pictogram</a:t>
            </a:r>
            <a:endParaRPr lang="pl-PL"/>
          </a:p>
        </p:txBody>
      </p:sp>
      <p:sp>
        <p:nvSpPr>
          <p:cNvPr id="59" name="Symbol zastępczy obrazu 46">
            <a:extLst>
              <a:ext uri="{FF2B5EF4-FFF2-40B4-BE49-F238E27FC236}">
                <a16:creationId xmlns:a16="http://schemas.microsoft.com/office/drawing/2014/main" id="{34721C73-F4D0-EF44-B9CB-F96B3895567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725015" y="4221733"/>
            <a:ext cx="613687" cy="64309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pl-PL" err="1"/>
              <a:t>picto</a:t>
            </a:r>
            <a:endParaRPr lang="pl-PL"/>
          </a:p>
        </p:txBody>
      </p:sp>
      <p:sp>
        <p:nvSpPr>
          <p:cNvPr id="2" name="Symbol zastępczy tekstu 34">
            <a:extLst>
              <a:ext uri="{FF2B5EF4-FFF2-40B4-BE49-F238E27FC236}">
                <a16:creationId xmlns:a16="http://schemas.microsoft.com/office/drawing/2014/main" id="{0C29DA0C-CDAB-EDA3-AB53-5C8EE224580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073" y="31634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cxnSp>
        <p:nvCxnSpPr>
          <p:cNvPr id="3" name="Łącznik prosty 2">
            <a:extLst>
              <a:ext uri="{FF2B5EF4-FFF2-40B4-BE49-F238E27FC236}">
                <a16:creationId xmlns:a16="http://schemas.microsoft.com/office/drawing/2014/main" id="{255595AA-ADA0-E733-BF65-A2D40E2F668E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AAD44507-50B9-88A5-894C-95F420F6E60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07624" y="3672311"/>
            <a:ext cx="3496003" cy="28274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40897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0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ymbol zastępczy obrazu 38">
            <a:extLst>
              <a:ext uri="{FF2B5EF4-FFF2-40B4-BE49-F238E27FC236}">
                <a16:creationId xmlns:a16="http://schemas.microsoft.com/office/drawing/2014/main" id="{B89542B4-35EE-8342-9A01-346EB4E3EB9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4763"/>
            <a:ext cx="3439538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7186C673-705F-AC23-8914-F894B5F9C7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3" name="Symbol zastępczy tekstu 34">
            <a:extLst>
              <a:ext uri="{FF2B5EF4-FFF2-40B4-BE49-F238E27FC236}">
                <a16:creationId xmlns:a16="http://schemas.microsoft.com/office/drawing/2014/main" id="{2D4A1B98-BE71-5B94-485E-E15472A5C1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59541" y="31559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0"/>
              </a:spcBef>
              <a:buNone/>
              <a:defRPr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cxnSp>
        <p:nvCxnSpPr>
          <p:cNvPr id="4" name="Łącznik prosty 3">
            <a:extLst>
              <a:ext uri="{FF2B5EF4-FFF2-40B4-BE49-F238E27FC236}">
                <a16:creationId xmlns:a16="http://schemas.microsoft.com/office/drawing/2014/main" id="{6D415BF0-8117-EAF2-3418-2734A46A1A77}"/>
              </a:ext>
            </a:extLst>
          </p:cNvPr>
          <p:cNvCxnSpPr>
            <a:cxnSpLocks/>
          </p:cNvCxnSpPr>
          <p:nvPr userDrawn="1"/>
        </p:nvCxnSpPr>
        <p:spPr>
          <a:xfrm>
            <a:off x="995739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ymbol zastępczy tekstu 5">
            <a:extLst>
              <a:ext uri="{FF2B5EF4-FFF2-40B4-BE49-F238E27FC236}">
                <a16:creationId xmlns:a16="http://schemas.microsoft.com/office/drawing/2014/main" id="{69B06D7B-CEAE-3A7D-74BB-A8D0CC49F5E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56963" y="3543205"/>
            <a:ext cx="3278074" cy="25242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11" name="Symbol zastępczy tekstu 36">
            <a:extLst>
              <a:ext uri="{FF2B5EF4-FFF2-40B4-BE49-F238E27FC236}">
                <a16:creationId xmlns:a16="http://schemas.microsoft.com/office/drawing/2014/main" id="{2E474A2A-B5FC-35D3-7E2E-1A982B4CA5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56964" y="2919694"/>
            <a:ext cx="3278074" cy="5093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ts val="2008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i="0" baseline="0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sp>
        <p:nvSpPr>
          <p:cNvPr id="12" name="Symbol zastępczy tekstu 5">
            <a:extLst>
              <a:ext uri="{FF2B5EF4-FFF2-40B4-BE49-F238E27FC236}">
                <a16:creationId xmlns:a16="http://schemas.microsoft.com/office/drawing/2014/main" id="{C6B689FA-877C-3D8B-405C-CD0D93A2502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577833" y="3543205"/>
            <a:ext cx="3278074" cy="25242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14" name="Symbol zastępczy tekstu 36">
            <a:extLst>
              <a:ext uri="{FF2B5EF4-FFF2-40B4-BE49-F238E27FC236}">
                <a16:creationId xmlns:a16="http://schemas.microsoft.com/office/drawing/2014/main" id="{7EE0FDCA-41BD-E2BB-D26A-1DEB8571420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77834" y="2919694"/>
            <a:ext cx="3278074" cy="5093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ts val="2008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i="0" baseline="0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18663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ymbol zastępczy obrazu 38">
            <a:extLst>
              <a:ext uri="{FF2B5EF4-FFF2-40B4-BE49-F238E27FC236}">
                <a16:creationId xmlns:a16="http://schemas.microsoft.com/office/drawing/2014/main" id="{CFC3D034-A8C3-DD49-89F3-6135934E233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4762"/>
            <a:ext cx="12192000" cy="2547867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15" name="Symbol zastępczy tekstu 36">
            <a:extLst>
              <a:ext uri="{FF2B5EF4-FFF2-40B4-BE49-F238E27FC236}">
                <a16:creationId xmlns:a16="http://schemas.microsoft.com/office/drawing/2014/main" id="{0DC29C95-7295-124E-BDCA-1599ED29F4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566064" y="3657210"/>
            <a:ext cx="7059872" cy="22156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Etiam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acru</a:t>
            </a:r>
            <a:r>
              <a:rPr lang="pl-PL"/>
              <a:t>, </a:t>
            </a:r>
            <a:r>
              <a:rPr lang="pl-PL" err="1"/>
              <a:t>efficitur</a:t>
            </a:r>
            <a:r>
              <a:rPr lang="pl-PL"/>
              <a:t> non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, </a:t>
            </a:r>
            <a:r>
              <a:rPr lang="pl-PL" err="1"/>
              <a:t>faucibus</a:t>
            </a:r>
            <a:r>
              <a:rPr lang="pl-PL"/>
              <a:t> in </a:t>
            </a:r>
            <a:r>
              <a:rPr lang="pl-PL" err="1"/>
              <a:t>est</a:t>
            </a:r>
            <a:r>
              <a:rPr lang="pl-PL"/>
              <a:t>.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E84DD499-1735-3F43-A879-7637A71EFD48}"/>
              </a:ext>
            </a:extLst>
          </p:cNvPr>
          <p:cNvSpPr/>
          <p:nvPr userDrawn="1"/>
        </p:nvSpPr>
        <p:spPr>
          <a:xfrm>
            <a:off x="0" y="2543105"/>
            <a:ext cx="12192000" cy="88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Symbol zastępczy tekstu 34">
            <a:extLst>
              <a:ext uri="{FF2B5EF4-FFF2-40B4-BE49-F238E27FC236}">
                <a16:creationId xmlns:a16="http://schemas.microsoft.com/office/drawing/2014/main" id="{49B64686-377C-084B-99EE-44F0ED75E7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05372" y="2645246"/>
            <a:ext cx="5381256" cy="694854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  <a:br>
              <a:rPr lang="pl-PL"/>
            </a:br>
            <a:r>
              <a:rPr lang="pl-PL"/>
              <a:t>IN ONE OR TWO LINES</a:t>
            </a: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66A39592-5A18-A09B-FA0E-D9E8453976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381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with DARK pictur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obrazu 16">
            <a:extLst>
              <a:ext uri="{FF2B5EF4-FFF2-40B4-BE49-F238E27FC236}">
                <a16:creationId xmlns:a16="http://schemas.microsoft.com/office/drawing/2014/main" id="{CEFDFD2A-5C28-AC79-8A93-28E5E6A5FA3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9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13" name="Tytuł 13">
            <a:extLst>
              <a:ext uri="{FF2B5EF4-FFF2-40B4-BE49-F238E27FC236}">
                <a16:creationId xmlns:a16="http://schemas.microsoft.com/office/drawing/2014/main" id="{0ADAB18A-53E9-EC42-9123-8CBC09144B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445276"/>
            <a:ext cx="10515600" cy="748245"/>
          </a:xfrm>
          <a:prstGeom prst="rect">
            <a:avLst/>
          </a:prstGeom>
        </p:spPr>
        <p:txBody>
          <a:bodyPr/>
          <a:lstStyle>
            <a:lvl1pPr algn="ctr">
              <a:defRPr sz="6000" b="0" i="0" cap="all" baseline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Presentation TITLE</a:t>
            </a:r>
          </a:p>
        </p:txBody>
      </p:sp>
      <p:sp>
        <p:nvSpPr>
          <p:cNvPr id="18" name="Symbol zastępczy tekstu 15">
            <a:extLst>
              <a:ext uri="{FF2B5EF4-FFF2-40B4-BE49-F238E27FC236}">
                <a16:creationId xmlns:a16="http://schemas.microsoft.com/office/drawing/2014/main" id="{C0CC791A-447C-7F4C-B414-C457066B74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2847" y="4077990"/>
            <a:ext cx="5226306" cy="160655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4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pl-PL"/>
              <a:t>Speaker</a:t>
            </a:r>
            <a:br>
              <a:rPr lang="pl-PL"/>
            </a:br>
            <a:r>
              <a:rPr lang="pl-PL" err="1"/>
              <a:t>Date</a:t>
            </a:r>
            <a:br>
              <a:rPr lang="pl-PL"/>
            </a:br>
            <a:r>
              <a:rPr lang="pl-PL" err="1"/>
              <a:t>Location</a:t>
            </a:r>
            <a:br>
              <a:rPr lang="pl-PL"/>
            </a:br>
            <a:r>
              <a:rPr lang="pl-PL"/>
              <a:t>etc.</a:t>
            </a: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818661C1-4DF8-8E57-FB9A-FBDBE79F55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172050" y="1386270"/>
            <a:ext cx="1847900" cy="419571"/>
          </a:xfrm>
          <a:prstGeom prst="rect">
            <a:avLst/>
          </a:prstGeom>
        </p:spPr>
      </p:pic>
      <p:cxnSp>
        <p:nvCxnSpPr>
          <p:cNvPr id="3" name="Łącznik prosty 2">
            <a:extLst>
              <a:ext uri="{FF2B5EF4-FFF2-40B4-BE49-F238E27FC236}">
                <a16:creationId xmlns:a16="http://schemas.microsoft.com/office/drawing/2014/main" id="{70A4A619-CB9A-9E96-7DB2-892EF5921AF0}"/>
              </a:ext>
            </a:extLst>
          </p:cNvPr>
          <p:cNvCxnSpPr>
            <a:cxnSpLocks/>
          </p:cNvCxnSpPr>
          <p:nvPr userDrawn="1"/>
        </p:nvCxnSpPr>
        <p:spPr>
          <a:xfrm>
            <a:off x="5146745" y="3433036"/>
            <a:ext cx="1898510" cy="0"/>
          </a:xfrm>
          <a:prstGeom prst="line">
            <a:avLst/>
          </a:prstGeom>
          <a:ln w="165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62521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ntents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ymbol zastępczy obrazu 38">
            <a:extLst>
              <a:ext uri="{FF2B5EF4-FFF2-40B4-BE49-F238E27FC236}">
                <a16:creationId xmlns:a16="http://schemas.microsoft.com/office/drawing/2014/main" id="{CFC3D034-A8C3-DD49-89F3-6135934E233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4762"/>
            <a:ext cx="12192000" cy="2547867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8" name="Symbol zastępczy tekstu 36">
            <a:extLst>
              <a:ext uri="{FF2B5EF4-FFF2-40B4-BE49-F238E27FC236}">
                <a16:creationId xmlns:a16="http://schemas.microsoft.com/office/drawing/2014/main" id="{4AF302E1-56D2-3841-83F6-343447E1E0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54343" y="3657210"/>
            <a:ext cx="3893778" cy="536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08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CEF245CA-63EA-9123-E97E-64177CFC96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3" name="Prostokąt 2">
            <a:extLst>
              <a:ext uri="{FF2B5EF4-FFF2-40B4-BE49-F238E27FC236}">
                <a16:creationId xmlns:a16="http://schemas.microsoft.com/office/drawing/2014/main" id="{9B9FDC54-EAE6-5263-64CB-906A8B70DF02}"/>
              </a:ext>
            </a:extLst>
          </p:cNvPr>
          <p:cNvSpPr/>
          <p:nvPr userDrawn="1"/>
        </p:nvSpPr>
        <p:spPr>
          <a:xfrm>
            <a:off x="0" y="2543105"/>
            <a:ext cx="12192000" cy="88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2" name="Symbol zastępczy tekstu 36">
            <a:extLst>
              <a:ext uri="{FF2B5EF4-FFF2-40B4-BE49-F238E27FC236}">
                <a16:creationId xmlns:a16="http://schemas.microsoft.com/office/drawing/2014/main" id="{11E72E61-CE2F-E329-70F1-2AAB2ED868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72743" y="3657210"/>
            <a:ext cx="3893778" cy="536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08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sp>
        <p:nvSpPr>
          <p:cNvPr id="6" name="Symbol zastępczy tekstu 34">
            <a:extLst>
              <a:ext uri="{FF2B5EF4-FFF2-40B4-BE49-F238E27FC236}">
                <a16:creationId xmlns:a16="http://schemas.microsoft.com/office/drawing/2014/main" id="{0F13C422-CDA5-074D-D790-5596E733E59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05372" y="2645246"/>
            <a:ext cx="5381256" cy="694854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  <a:br>
              <a:rPr lang="pl-PL"/>
            </a:br>
            <a:r>
              <a:rPr lang="pl-PL"/>
              <a:t>IN ONE OR TWO LINES</a:t>
            </a:r>
          </a:p>
        </p:txBody>
      </p:sp>
      <p:sp>
        <p:nvSpPr>
          <p:cNvPr id="10" name="Symbol zastępczy tekstu 9">
            <a:extLst>
              <a:ext uri="{FF2B5EF4-FFF2-40B4-BE49-F238E27FC236}">
                <a16:creationId xmlns:a16="http://schemas.microsoft.com/office/drawing/2014/main" id="{84FBA1CF-1936-46C8-37DA-11AECD2000F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572742" y="4193237"/>
            <a:ext cx="3893777" cy="188247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11" name="Symbol zastępczy tekstu 9">
            <a:extLst>
              <a:ext uri="{FF2B5EF4-FFF2-40B4-BE49-F238E27FC236}">
                <a16:creationId xmlns:a16="http://schemas.microsoft.com/office/drawing/2014/main" id="{7CD616DB-002E-4D53-15FF-67286212308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754343" y="4193237"/>
            <a:ext cx="3893777" cy="188247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740342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ntents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ymbol zastępczy obrazu 38">
            <a:extLst>
              <a:ext uri="{FF2B5EF4-FFF2-40B4-BE49-F238E27FC236}">
                <a16:creationId xmlns:a16="http://schemas.microsoft.com/office/drawing/2014/main" id="{CFC3D034-A8C3-DD49-89F3-6135934E233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4762"/>
            <a:ext cx="12192000" cy="2547867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5B612065-C810-937C-6959-9CCFAE00ED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3" name="Prostokąt 2">
            <a:extLst>
              <a:ext uri="{FF2B5EF4-FFF2-40B4-BE49-F238E27FC236}">
                <a16:creationId xmlns:a16="http://schemas.microsoft.com/office/drawing/2014/main" id="{49756EF1-A137-FB8A-91FA-988C9DE1C99D}"/>
              </a:ext>
            </a:extLst>
          </p:cNvPr>
          <p:cNvSpPr/>
          <p:nvPr userDrawn="1"/>
        </p:nvSpPr>
        <p:spPr>
          <a:xfrm>
            <a:off x="0" y="2543105"/>
            <a:ext cx="12192000" cy="88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Symbol zastępczy tekstu 36">
            <a:extLst>
              <a:ext uri="{FF2B5EF4-FFF2-40B4-BE49-F238E27FC236}">
                <a16:creationId xmlns:a16="http://schemas.microsoft.com/office/drawing/2014/main" id="{27D39A41-C743-6938-587E-5F38DB47434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06341" y="3657210"/>
            <a:ext cx="2987038" cy="536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08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sp>
        <p:nvSpPr>
          <p:cNvPr id="14" name="Symbol zastępczy tekstu 36">
            <a:extLst>
              <a:ext uri="{FF2B5EF4-FFF2-40B4-BE49-F238E27FC236}">
                <a16:creationId xmlns:a16="http://schemas.microsoft.com/office/drawing/2014/main" id="{03BC13C1-8AAF-D01D-E31D-47E0C9E9C00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601007" y="3657210"/>
            <a:ext cx="2987038" cy="536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08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sp>
        <p:nvSpPr>
          <p:cNvPr id="15" name="Symbol zastępczy tekstu 36">
            <a:extLst>
              <a:ext uri="{FF2B5EF4-FFF2-40B4-BE49-F238E27FC236}">
                <a16:creationId xmlns:a16="http://schemas.microsoft.com/office/drawing/2014/main" id="{14D543EA-5EF1-988B-7DCE-4EEB6D5DF7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95675" y="3657210"/>
            <a:ext cx="2987038" cy="536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08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sp>
        <p:nvSpPr>
          <p:cNvPr id="5" name="Symbol zastępczy tekstu 34">
            <a:extLst>
              <a:ext uri="{FF2B5EF4-FFF2-40B4-BE49-F238E27FC236}">
                <a16:creationId xmlns:a16="http://schemas.microsoft.com/office/drawing/2014/main" id="{8EC746B3-1D95-FB69-170A-049A34B971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05372" y="2645246"/>
            <a:ext cx="5381256" cy="694854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  <a:br>
              <a:rPr lang="pl-PL"/>
            </a:br>
            <a:r>
              <a:rPr lang="pl-PL"/>
              <a:t>IN ONE OR TWO LINES</a:t>
            </a:r>
          </a:p>
        </p:txBody>
      </p:sp>
      <p:sp>
        <p:nvSpPr>
          <p:cNvPr id="7" name="Symbol zastępczy tekstu 6">
            <a:extLst>
              <a:ext uri="{FF2B5EF4-FFF2-40B4-BE49-F238E27FC236}">
                <a16:creationId xmlns:a16="http://schemas.microsoft.com/office/drawing/2014/main" id="{CB972B30-6B20-A8E8-5677-6E85EB97498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06341" y="4193238"/>
            <a:ext cx="2987036" cy="188247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8" name="Symbol zastępczy tekstu 6">
            <a:extLst>
              <a:ext uri="{FF2B5EF4-FFF2-40B4-BE49-F238E27FC236}">
                <a16:creationId xmlns:a16="http://schemas.microsoft.com/office/drawing/2014/main" id="{0302F65A-A369-AA6A-7D71-3302C64A3E9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601005" y="4193238"/>
            <a:ext cx="2987036" cy="188247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10" name="Symbol zastępczy tekstu 6">
            <a:extLst>
              <a:ext uri="{FF2B5EF4-FFF2-40B4-BE49-F238E27FC236}">
                <a16:creationId xmlns:a16="http://schemas.microsoft.com/office/drawing/2014/main" id="{A5DCB419-4C89-4F0F-7C78-1C246DFDC7DF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495677" y="4193238"/>
            <a:ext cx="2987036" cy="1882470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328831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ntents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ole tekstowe 1">
            <a:extLst>
              <a:ext uri="{FF2B5EF4-FFF2-40B4-BE49-F238E27FC236}">
                <a16:creationId xmlns:a16="http://schemas.microsoft.com/office/drawing/2014/main" id="{0C1DBB4E-6835-BE44-AC97-14DCC5BE5B37}"/>
              </a:ext>
            </a:extLst>
          </p:cNvPr>
          <p:cNvSpPr txBox="1"/>
          <p:nvPr userDrawn="1"/>
        </p:nvSpPr>
        <p:spPr>
          <a:xfrm>
            <a:off x="11938000" y="6180667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algn="l"/>
            <a:endParaRPr lang="en-US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974FC6DB-A810-4E70-2A47-0DD17FF91D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4" name="Symbol zastępczy obrazu 38">
            <a:extLst>
              <a:ext uri="{FF2B5EF4-FFF2-40B4-BE49-F238E27FC236}">
                <a16:creationId xmlns:a16="http://schemas.microsoft.com/office/drawing/2014/main" id="{3B5FEFFF-3015-2D00-D8E6-BDD49102B1A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4762"/>
            <a:ext cx="12192000" cy="2547867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DB630A5C-7C48-7A9B-1335-1846919A1AF2}"/>
              </a:ext>
            </a:extLst>
          </p:cNvPr>
          <p:cNvSpPr/>
          <p:nvPr userDrawn="1"/>
        </p:nvSpPr>
        <p:spPr>
          <a:xfrm>
            <a:off x="0" y="2543105"/>
            <a:ext cx="12192000" cy="8858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" name="Symbol zastępczy tekstu 36">
            <a:extLst>
              <a:ext uri="{FF2B5EF4-FFF2-40B4-BE49-F238E27FC236}">
                <a16:creationId xmlns:a16="http://schemas.microsoft.com/office/drawing/2014/main" id="{2F88095B-7414-3FC7-7A70-55D6217E464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06341" y="3657210"/>
            <a:ext cx="2394668" cy="53602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sp>
        <p:nvSpPr>
          <p:cNvPr id="15" name="Symbol zastępczy tekstu 36">
            <a:extLst>
              <a:ext uri="{FF2B5EF4-FFF2-40B4-BE49-F238E27FC236}">
                <a16:creationId xmlns:a16="http://schemas.microsoft.com/office/drawing/2014/main" id="{D756ADC0-ED86-2DED-9F54-FEF1687A620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517275" y="3657210"/>
            <a:ext cx="2394668" cy="53602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sp>
        <p:nvSpPr>
          <p:cNvPr id="16" name="Symbol zastępczy tekstu 36">
            <a:extLst>
              <a:ext uri="{FF2B5EF4-FFF2-40B4-BE49-F238E27FC236}">
                <a16:creationId xmlns:a16="http://schemas.microsoft.com/office/drawing/2014/main" id="{043C9442-E88F-D17D-6E2F-5AA04116C3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105276" y="3657210"/>
            <a:ext cx="2394668" cy="53602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sp>
        <p:nvSpPr>
          <p:cNvPr id="18" name="Symbol zastępczy tekstu 36">
            <a:extLst>
              <a:ext uri="{FF2B5EF4-FFF2-40B4-BE49-F238E27FC236}">
                <a16:creationId xmlns:a16="http://schemas.microsoft.com/office/drawing/2014/main" id="{5B9A8B7A-0277-C592-1E26-D31CEEA6E71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94342" y="3657210"/>
            <a:ext cx="2394668" cy="53602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8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sp>
        <p:nvSpPr>
          <p:cNvPr id="9" name="Symbol zastępczy tekstu 34">
            <a:extLst>
              <a:ext uri="{FF2B5EF4-FFF2-40B4-BE49-F238E27FC236}">
                <a16:creationId xmlns:a16="http://schemas.microsoft.com/office/drawing/2014/main" id="{CDBDBD69-9D01-78A6-CCC0-FEE9C03DBEA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05372" y="2645246"/>
            <a:ext cx="5381256" cy="694854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  <a:br>
              <a:rPr lang="pl-PL"/>
            </a:br>
            <a:r>
              <a:rPr lang="pl-PL"/>
              <a:t>IN ONE OR TWO LINES</a:t>
            </a:r>
          </a:p>
        </p:txBody>
      </p:sp>
      <p:sp>
        <p:nvSpPr>
          <p:cNvPr id="6" name="Symbol zastępczy tekstu 6">
            <a:extLst>
              <a:ext uri="{FF2B5EF4-FFF2-40B4-BE49-F238E27FC236}">
                <a16:creationId xmlns:a16="http://schemas.microsoft.com/office/drawing/2014/main" id="{320AE21F-96E0-5D78-E730-D8351A1CACE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06341" y="4193238"/>
            <a:ext cx="2394668" cy="18824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11" name="Symbol zastępczy tekstu 6">
            <a:extLst>
              <a:ext uri="{FF2B5EF4-FFF2-40B4-BE49-F238E27FC236}">
                <a16:creationId xmlns:a16="http://schemas.microsoft.com/office/drawing/2014/main" id="{1D647742-EA5D-669E-7FFE-723C6FAD928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517764" y="4193238"/>
            <a:ext cx="2394668" cy="18824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12" name="Symbol zastępczy tekstu 6">
            <a:extLst>
              <a:ext uri="{FF2B5EF4-FFF2-40B4-BE49-F238E27FC236}">
                <a16:creationId xmlns:a16="http://schemas.microsoft.com/office/drawing/2014/main" id="{745CBAC2-C10F-2C79-0E5E-71DA85A4E8C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293853" y="4193238"/>
            <a:ext cx="2394668" cy="18824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17" name="Symbol zastępczy tekstu 6">
            <a:extLst>
              <a:ext uri="{FF2B5EF4-FFF2-40B4-BE49-F238E27FC236}">
                <a16:creationId xmlns:a16="http://schemas.microsoft.com/office/drawing/2014/main" id="{5814462D-F605-DB5D-1E6C-7F99A753AFC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105276" y="4193238"/>
            <a:ext cx="2394668" cy="18824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685023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obrazu 38">
            <a:extLst>
              <a:ext uri="{FF2B5EF4-FFF2-40B4-BE49-F238E27FC236}">
                <a16:creationId xmlns:a16="http://schemas.microsoft.com/office/drawing/2014/main" id="{8EFA91DC-18B8-3540-97D3-82DAA846214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824093" y="1785223"/>
            <a:ext cx="2410831" cy="2256409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3" name="Prostokąt z zaokrąglonym rogiem 2">
            <a:extLst>
              <a:ext uri="{FF2B5EF4-FFF2-40B4-BE49-F238E27FC236}">
                <a16:creationId xmlns:a16="http://schemas.microsoft.com/office/drawing/2014/main" id="{CA61CAC5-D147-8447-B8AF-38DF12404FC3}"/>
              </a:ext>
            </a:extLst>
          </p:cNvPr>
          <p:cNvSpPr/>
          <p:nvPr userDrawn="1"/>
        </p:nvSpPr>
        <p:spPr>
          <a:xfrm rot="10800000">
            <a:off x="10154585" y="-22230"/>
            <a:ext cx="2047461" cy="1934434"/>
          </a:xfrm>
          <a:prstGeom prst="round1Rect">
            <a:avLst>
              <a:gd name="adj" fmla="val 43142"/>
            </a:avLst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6" name="Symbol zastępczy tekstu 36">
            <a:extLst>
              <a:ext uri="{FF2B5EF4-FFF2-40B4-BE49-F238E27FC236}">
                <a16:creationId xmlns:a16="http://schemas.microsoft.com/office/drawing/2014/main" id="{7F4D3BCC-19ED-5843-941E-31A2D851074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813576" y="4139670"/>
            <a:ext cx="2436858" cy="362969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cxnSp>
        <p:nvCxnSpPr>
          <p:cNvPr id="33" name="Łącznik prosty 32">
            <a:extLst>
              <a:ext uri="{FF2B5EF4-FFF2-40B4-BE49-F238E27FC236}">
                <a16:creationId xmlns:a16="http://schemas.microsoft.com/office/drawing/2014/main" id="{BA83414F-2A8E-CF47-81C9-C961153822E0}"/>
              </a:ext>
            </a:extLst>
          </p:cNvPr>
          <p:cNvCxnSpPr>
            <a:cxnSpLocks/>
          </p:cNvCxnSpPr>
          <p:nvPr userDrawn="1"/>
        </p:nvCxnSpPr>
        <p:spPr>
          <a:xfrm>
            <a:off x="3922135" y="6573415"/>
            <a:ext cx="2312789" cy="0"/>
          </a:xfrm>
          <a:prstGeom prst="line">
            <a:avLst/>
          </a:prstGeom>
          <a:ln w="19050">
            <a:solidFill>
              <a:srgbClr val="29E1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Obraz 1">
            <a:extLst>
              <a:ext uri="{FF2B5EF4-FFF2-40B4-BE49-F238E27FC236}">
                <a16:creationId xmlns:a16="http://schemas.microsoft.com/office/drawing/2014/main" id="{AD731ACA-A4DB-A5B9-B9A3-F16749AF2F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4" name="Symbol zastępczy obrazu 38">
            <a:extLst>
              <a:ext uri="{FF2B5EF4-FFF2-40B4-BE49-F238E27FC236}">
                <a16:creationId xmlns:a16="http://schemas.microsoft.com/office/drawing/2014/main" id="{4EAF9710-B60B-482E-5938-C63FA0AFDB76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19105" y="1785223"/>
            <a:ext cx="2410831" cy="2256409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13" name="Symbol zastępczy tekstu 36">
            <a:extLst>
              <a:ext uri="{FF2B5EF4-FFF2-40B4-BE49-F238E27FC236}">
                <a16:creationId xmlns:a16="http://schemas.microsoft.com/office/drawing/2014/main" id="{2A7A7CFF-E046-65AA-4D87-0159BE94A70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8588" y="4139670"/>
            <a:ext cx="2436858" cy="362969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cxnSp>
        <p:nvCxnSpPr>
          <p:cNvPr id="14" name="Łącznik prosty 13">
            <a:extLst>
              <a:ext uri="{FF2B5EF4-FFF2-40B4-BE49-F238E27FC236}">
                <a16:creationId xmlns:a16="http://schemas.microsoft.com/office/drawing/2014/main" id="{D2B60E6B-2EFE-288C-E369-46D41BC61BFF}"/>
              </a:ext>
            </a:extLst>
          </p:cNvPr>
          <p:cNvCxnSpPr>
            <a:cxnSpLocks/>
          </p:cNvCxnSpPr>
          <p:nvPr userDrawn="1"/>
        </p:nvCxnSpPr>
        <p:spPr>
          <a:xfrm>
            <a:off x="917147" y="6573415"/>
            <a:ext cx="2312789" cy="0"/>
          </a:xfrm>
          <a:prstGeom prst="line">
            <a:avLst/>
          </a:prstGeom>
          <a:ln w="19050">
            <a:solidFill>
              <a:srgbClr val="29E1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ymbol zastępczy obrazu 38">
            <a:extLst>
              <a:ext uri="{FF2B5EF4-FFF2-40B4-BE49-F238E27FC236}">
                <a16:creationId xmlns:a16="http://schemas.microsoft.com/office/drawing/2014/main" id="{49892603-5A44-35FF-B8FE-63444F617665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829081" y="1785223"/>
            <a:ext cx="2410831" cy="2256409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17" name="Symbol zastępczy tekstu 36">
            <a:extLst>
              <a:ext uri="{FF2B5EF4-FFF2-40B4-BE49-F238E27FC236}">
                <a16:creationId xmlns:a16="http://schemas.microsoft.com/office/drawing/2014/main" id="{6BF7F8F4-EEB9-7853-0FFA-F8B8A39ECD7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18564" y="4139670"/>
            <a:ext cx="2436858" cy="362969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  <p:cxnSp>
        <p:nvCxnSpPr>
          <p:cNvPr id="18" name="Łącznik prosty 17">
            <a:extLst>
              <a:ext uri="{FF2B5EF4-FFF2-40B4-BE49-F238E27FC236}">
                <a16:creationId xmlns:a16="http://schemas.microsoft.com/office/drawing/2014/main" id="{665F7A56-D48C-3712-A128-F056559CB6A3}"/>
              </a:ext>
            </a:extLst>
          </p:cNvPr>
          <p:cNvCxnSpPr>
            <a:cxnSpLocks/>
          </p:cNvCxnSpPr>
          <p:nvPr userDrawn="1"/>
        </p:nvCxnSpPr>
        <p:spPr>
          <a:xfrm>
            <a:off x="6927123" y="6573415"/>
            <a:ext cx="2312789" cy="0"/>
          </a:xfrm>
          <a:prstGeom prst="line">
            <a:avLst/>
          </a:prstGeom>
          <a:ln w="19050">
            <a:solidFill>
              <a:srgbClr val="29E1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ymbol zastępczy tekstu 34">
            <a:extLst>
              <a:ext uri="{FF2B5EF4-FFF2-40B4-BE49-F238E27FC236}">
                <a16:creationId xmlns:a16="http://schemas.microsoft.com/office/drawing/2014/main" id="{4BEC4203-3C99-5302-C6E8-61CD9204E16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073" y="31634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cxnSp>
        <p:nvCxnSpPr>
          <p:cNvPr id="6" name="Łącznik prosty 5">
            <a:extLst>
              <a:ext uri="{FF2B5EF4-FFF2-40B4-BE49-F238E27FC236}">
                <a16:creationId xmlns:a16="http://schemas.microsoft.com/office/drawing/2014/main" id="{135B8879-A557-355B-F8C1-45B676AF7039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ymbol zastępczy tekstu 9">
            <a:extLst>
              <a:ext uri="{FF2B5EF4-FFF2-40B4-BE49-F238E27FC236}">
                <a16:creationId xmlns:a16="http://schemas.microsoft.com/office/drawing/2014/main" id="{B93B0548-2A79-CFDF-64AE-F1C67C1BAA3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08588" y="4597146"/>
            <a:ext cx="2436858" cy="187032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  <a:p>
            <a:pPr lvl="1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19" name="Symbol zastępczy tekstu 9">
            <a:extLst>
              <a:ext uri="{FF2B5EF4-FFF2-40B4-BE49-F238E27FC236}">
                <a16:creationId xmlns:a16="http://schemas.microsoft.com/office/drawing/2014/main" id="{23FFD499-F889-4652-5C23-752FC6A70BC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3576" y="4597146"/>
            <a:ext cx="2436858" cy="187032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  <a:p>
            <a:pPr lvl="1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20" name="Symbol zastępczy tekstu 9">
            <a:extLst>
              <a:ext uri="{FF2B5EF4-FFF2-40B4-BE49-F238E27FC236}">
                <a16:creationId xmlns:a16="http://schemas.microsoft.com/office/drawing/2014/main" id="{9824F312-6C81-3FB7-9C84-B16A154C73B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16067" y="4597146"/>
            <a:ext cx="2436858" cy="1870328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  <a:p>
            <a:pPr lvl="1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730348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obiektu multimediów 4">
            <a:extLst>
              <a:ext uri="{FF2B5EF4-FFF2-40B4-BE49-F238E27FC236}">
                <a16:creationId xmlns:a16="http://schemas.microsoft.com/office/drawing/2014/main" id="{39FD6EB2-C312-8A43-ABA6-45D184DA9062}"/>
              </a:ext>
            </a:extLst>
          </p:cNvPr>
          <p:cNvSpPr>
            <a:spLocks noGrp="1"/>
          </p:cNvSpPr>
          <p:nvPr>
            <p:ph type="media" sz="quarter" idx="2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/>
              <a:t>video</a:t>
            </a: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72A302B5-690A-D83C-66B6-F3511ACD02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801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929D25E9-8D54-9A4F-80B5-67FE0896BD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76703" y="1742415"/>
            <a:ext cx="1938211" cy="142399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EAFC6EC9-3AE6-EE4D-B9D8-E73CF29B08A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4118850" y="4453465"/>
            <a:ext cx="1810905" cy="1594678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7AE0CC54-CCCB-6842-B97E-95FC96ECC46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12" name="Prostokąt z zaokrąglonym rogiem 11">
            <a:extLst>
              <a:ext uri="{FF2B5EF4-FFF2-40B4-BE49-F238E27FC236}">
                <a16:creationId xmlns:a16="http://schemas.microsoft.com/office/drawing/2014/main" id="{9B0CC323-D08E-1F43-A69A-A2E2103D938D}"/>
              </a:ext>
            </a:extLst>
          </p:cNvPr>
          <p:cNvSpPr/>
          <p:nvPr userDrawn="1"/>
        </p:nvSpPr>
        <p:spPr>
          <a:xfrm rot="10800000">
            <a:off x="10154585" y="-22230"/>
            <a:ext cx="2047461" cy="1934434"/>
          </a:xfrm>
          <a:prstGeom prst="round1Rect">
            <a:avLst>
              <a:gd name="adj" fmla="val 43142"/>
            </a:avLst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9" name="Symbol zastępczy wykresu 2">
            <a:extLst>
              <a:ext uri="{FF2B5EF4-FFF2-40B4-BE49-F238E27FC236}">
                <a16:creationId xmlns:a16="http://schemas.microsoft.com/office/drawing/2014/main" id="{73E6FAF5-7102-9944-86DC-967540ED6DD8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2910370" y="1611676"/>
            <a:ext cx="6371259" cy="43423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graph</a:t>
            </a:r>
          </a:p>
        </p:txBody>
      </p:sp>
      <p:sp>
        <p:nvSpPr>
          <p:cNvPr id="2" name="Symbol zastępczy tekstu 34">
            <a:extLst>
              <a:ext uri="{FF2B5EF4-FFF2-40B4-BE49-F238E27FC236}">
                <a16:creationId xmlns:a16="http://schemas.microsoft.com/office/drawing/2014/main" id="{97A5D4D8-6B7A-2F79-98E8-24E7518E276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073" y="31634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cxnSp>
        <p:nvCxnSpPr>
          <p:cNvPr id="6" name="Łącznik prosty 5">
            <a:extLst>
              <a:ext uri="{FF2B5EF4-FFF2-40B4-BE49-F238E27FC236}">
                <a16:creationId xmlns:a16="http://schemas.microsoft.com/office/drawing/2014/main" id="{FFFB9860-9673-6906-3586-AE1514B54EF9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0481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rostokąt z zaokrąglonym rogiem 26">
            <a:extLst>
              <a:ext uri="{FF2B5EF4-FFF2-40B4-BE49-F238E27FC236}">
                <a16:creationId xmlns:a16="http://schemas.microsoft.com/office/drawing/2014/main" id="{172AF3AC-AD48-2A42-956C-9A7D5D83BC9A}"/>
              </a:ext>
            </a:extLst>
          </p:cNvPr>
          <p:cNvSpPr/>
          <p:nvPr userDrawn="1"/>
        </p:nvSpPr>
        <p:spPr>
          <a:xfrm rot="5400000">
            <a:off x="6490991" y="1156993"/>
            <a:ext cx="6858001" cy="4544018"/>
          </a:xfrm>
          <a:prstGeom prst="round1Rect">
            <a:avLst>
              <a:gd name="adj" fmla="val 0"/>
            </a:avLst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87314FA7-5A87-2A47-8124-A340AC15CE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1A40ABDE-D1F7-2C46-BC37-8ED2F3CB8A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-1" b="5978"/>
          <a:stretch/>
        </p:blipFill>
        <p:spPr>
          <a:xfrm>
            <a:off x="10520242" y="4124"/>
            <a:ext cx="1810905" cy="1499357"/>
          </a:xfrm>
          <a:prstGeom prst="rect">
            <a:avLst/>
          </a:prstGeom>
        </p:spPr>
      </p:pic>
      <p:sp>
        <p:nvSpPr>
          <p:cNvPr id="3" name="Symbol zastępczy wykresu 2">
            <a:extLst>
              <a:ext uri="{FF2B5EF4-FFF2-40B4-BE49-F238E27FC236}">
                <a16:creationId xmlns:a16="http://schemas.microsoft.com/office/drawing/2014/main" id="{651548A9-A590-0D4A-BADC-0C932B11C88C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727073" y="1987042"/>
            <a:ext cx="5954398" cy="39670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graph</a:t>
            </a:r>
          </a:p>
        </p:txBody>
      </p:sp>
      <p:sp>
        <p:nvSpPr>
          <p:cNvPr id="2" name="Symbol zastępczy tekstu 34">
            <a:extLst>
              <a:ext uri="{FF2B5EF4-FFF2-40B4-BE49-F238E27FC236}">
                <a16:creationId xmlns:a16="http://schemas.microsoft.com/office/drawing/2014/main" id="{8E84C831-5929-466D-B3C2-86151CE22C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073" y="31634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cxnSp>
        <p:nvCxnSpPr>
          <p:cNvPr id="8" name="Łącznik prosty 7">
            <a:extLst>
              <a:ext uri="{FF2B5EF4-FFF2-40B4-BE49-F238E27FC236}">
                <a16:creationId xmlns:a16="http://schemas.microsoft.com/office/drawing/2014/main" id="{F7CAE252-C0A3-AA2C-FCAE-7A7642854740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ymbol zastępczy tekstu 5">
            <a:extLst>
              <a:ext uri="{FF2B5EF4-FFF2-40B4-BE49-F238E27FC236}">
                <a16:creationId xmlns:a16="http://schemas.microsoft.com/office/drawing/2014/main" id="{D0D8A5AC-8D82-8147-C9E7-5B1D68C6D4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490859" y="3428999"/>
            <a:ext cx="2734631" cy="252505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9" name="Symbol zastępczy tekstu 36">
            <a:extLst>
              <a:ext uri="{FF2B5EF4-FFF2-40B4-BE49-F238E27FC236}">
                <a16:creationId xmlns:a16="http://schemas.microsoft.com/office/drawing/2014/main" id="{4B0E3205-7F00-D7C0-DE6B-E5D7A89623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90860" y="2702858"/>
            <a:ext cx="2734631" cy="5927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ts val="2008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i="0" baseline="0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87319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 map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1EEB65B0-8959-E445-B6FD-3BA1963EA9EB}"/>
              </a:ext>
            </a:extLst>
          </p:cNvPr>
          <p:cNvSpPr/>
          <p:nvPr userDrawn="1"/>
        </p:nvSpPr>
        <p:spPr>
          <a:xfrm rot="5400000">
            <a:off x="5257314" y="-3000286"/>
            <a:ext cx="1677372" cy="1219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8" name="Symbol zastępczy tekstu 36">
            <a:extLst>
              <a:ext uri="{FF2B5EF4-FFF2-40B4-BE49-F238E27FC236}">
                <a16:creationId xmlns:a16="http://schemas.microsoft.com/office/drawing/2014/main" id="{78C1C072-7BC8-7548-8579-D33BDEB953A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9056" y="4119385"/>
            <a:ext cx="2218934" cy="276153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Step 1: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</p:txBody>
      </p:sp>
      <p:sp>
        <p:nvSpPr>
          <p:cNvPr id="20" name="Symbol zastępczy tekstu 36">
            <a:extLst>
              <a:ext uri="{FF2B5EF4-FFF2-40B4-BE49-F238E27FC236}">
                <a16:creationId xmlns:a16="http://schemas.microsoft.com/office/drawing/2014/main" id="{FBC42674-77AB-2F4E-BA72-FC7BEFA8B19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37286" y="4119385"/>
            <a:ext cx="2218934" cy="276153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Step 2: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</p:txBody>
      </p:sp>
      <p:sp>
        <p:nvSpPr>
          <p:cNvPr id="27" name="Symbol zastępczy tekstu 36">
            <a:extLst>
              <a:ext uri="{FF2B5EF4-FFF2-40B4-BE49-F238E27FC236}">
                <a16:creationId xmlns:a16="http://schemas.microsoft.com/office/drawing/2014/main" id="{5E618E9C-0881-BB4A-BEBE-CBC2C304194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35516" y="4119385"/>
            <a:ext cx="2218934" cy="276153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Step 3: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</p:txBody>
      </p:sp>
      <p:sp>
        <p:nvSpPr>
          <p:cNvPr id="29" name="Symbol zastępczy tekstu 36">
            <a:extLst>
              <a:ext uri="{FF2B5EF4-FFF2-40B4-BE49-F238E27FC236}">
                <a16:creationId xmlns:a16="http://schemas.microsoft.com/office/drawing/2014/main" id="{50BA56EE-0C23-7E44-8D84-6730BC538E1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948737" y="4119385"/>
            <a:ext cx="2218934" cy="276153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Step 4: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37878953-A788-C8E8-D302-94329E76B6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4" name="Symbol zastępczy tekstu 34">
            <a:extLst>
              <a:ext uri="{FF2B5EF4-FFF2-40B4-BE49-F238E27FC236}">
                <a16:creationId xmlns:a16="http://schemas.microsoft.com/office/drawing/2014/main" id="{C46EE27A-15AE-709C-599A-78E25D875B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59541" y="31559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0"/>
              </a:spcBef>
              <a:buNone/>
              <a:defRPr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cxnSp>
        <p:nvCxnSpPr>
          <p:cNvPr id="5" name="Łącznik prosty 4">
            <a:extLst>
              <a:ext uri="{FF2B5EF4-FFF2-40B4-BE49-F238E27FC236}">
                <a16:creationId xmlns:a16="http://schemas.microsoft.com/office/drawing/2014/main" id="{06F31024-3CA9-CB16-A77B-4DDACEB9B439}"/>
              </a:ext>
            </a:extLst>
          </p:cNvPr>
          <p:cNvCxnSpPr>
            <a:cxnSpLocks/>
          </p:cNvCxnSpPr>
          <p:nvPr userDrawn="1"/>
        </p:nvCxnSpPr>
        <p:spPr>
          <a:xfrm>
            <a:off x="995739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ymbol zastępczy tekstu 6">
            <a:extLst>
              <a:ext uri="{FF2B5EF4-FFF2-40B4-BE49-F238E27FC236}">
                <a16:creationId xmlns:a16="http://schemas.microsoft.com/office/drawing/2014/main" id="{A41539F0-4E89-F71C-D1DE-3B008CE92E9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948738" y="4626425"/>
            <a:ext cx="2218933" cy="1460050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200"/>
            </a:lvl3pPr>
            <a:lvl4pPr algn="l">
              <a:defRPr sz="1200"/>
            </a:lvl4pPr>
            <a:lvl5pPr algn="l"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8" name="Symbol zastępczy tekstu 6">
            <a:extLst>
              <a:ext uri="{FF2B5EF4-FFF2-40B4-BE49-F238E27FC236}">
                <a16:creationId xmlns:a16="http://schemas.microsoft.com/office/drawing/2014/main" id="{00F89D28-9206-D40C-BC28-B9A3C170DF9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235517" y="4626425"/>
            <a:ext cx="2218933" cy="1460050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200"/>
            </a:lvl3pPr>
            <a:lvl4pPr algn="l">
              <a:defRPr sz="1200"/>
            </a:lvl4pPr>
            <a:lvl5pPr algn="l"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9" name="Symbol zastępczy tekstu 6">
            <a:extLst>
              <a:ext uri="{FF2B5EF4-FFF2-40B4-BE49-F238E27FC236}">
                <a16:creationId xmlns:a16="http://schemas.microsoft.com/office/drawing/2014/main" id="{0FEA173D-70B0-097D-1917-9F65D904B73B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537287" y="4626425"/>
            <a:ext cx="2218933" cy="1460050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200"/>
            </a:lvl3pPr>
            <a:lvl4pPr algn="l">
              <a:defRPr sz="1200"/>
            </a:lvl4pPr>
            <a:lvl5pPr algn="l"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10" name="Symbol zastępczy tekstu 6">
            <a:extLst>
              <a:ext uri="{FF2B5EF4-FFF2-40B4-BE49-F238E27FC236}">
                <a16:creationId xmlns:a16="http://schemas.microsoft.com/office/drawing/2014/main" id="{5F0F59EE-B462-08D5-3784-3BF8697B10AE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39057" y="4626425"/>
            <a:ext cx="2218933" cy="1460050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200"/>
            </a:lvl3pPr>
            <a:lvl4pPr algn="l">
              <a:defRPr sz="1200"/>
            </a:lvl4pPr>
            <a:lvl5pPr algn="l"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85981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 map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1EEB65B0-8959-E445-B6FD-3BA1963EA9EB}"/>
              </a:ext>
            </a:extLst>
          </p:cNvPr>
          <p:cNvSpPr/>
          <p:nvPr userDrawn="1"/>
        </p:nvSpPr>
        <p:spPr>
          <a:xfrm rot="5400000">
            <a:off x="5257314" y="-3000286"/>
            <a:ext cx="1677372" cy="1219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28D50114-9E72-55B8-A9B3-17D523CFC5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4" name="Symbol zastępczy tekstu 34">
            <a:extLst>
              <a:ext uri="{FF2B5EF4-FFF2-40B4-BE49-F238E27FC236}">
                <a16:creationId xmlns:a16="http://schemas.microsoft.com/office/drawing/2014/main" id="{DDC8CB95-C51F-05D6-48C2-AB8EED0F1D4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59541" y="31559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0"/>
              </a:spcBef>
              <a:buNone/>
              <a:defRPr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SLIDE TITLE</a:t>
            </a:r>
          </a:p>
        </p:txBody>
      </p:sp>
      <p:cxnSp>
        <p:nvCxnSpPr>
          <p:cNvPr id="13" name="Łącznik prosty 12">
            <a:extLst>
              <a:ext uri="{FF2B5EF4-FFF2-40B4-BE49-F238E27FC236}">
                <a16:creationId xmlns:a16="http://schemas.microsoft.com/office/drawing/2014/main" id="{18AA0147-1E5B-F31C-E684-1DD1BCFBED82}"/>
              </a:ext>
            </a:extLst>
          </p:cNvPr>
          <p:cNvCxnSpPr>
            <a:cxnSpLocks/>
          </p:cNvCxnSpPr>
          <p:nvPr userDrawn="1"/>
        </p:nvCxnSpPr>
        <p:spPr>
          <a:xfrm>
            <a:off x="995739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ymbol zastępczy tekstu 36">
            <a:extLst>
              <a:ext uri="{FF2B5EF4-FFF2-40B4-BE49-F238E27FC236}">
                <a16:creationId xmlns:a16="http://schemas.microsoft.com/office/drawing/2014/main" id="{E6A0EDA3-F77A-0B78-B67E-72581A232B7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9056" y="4119385"/>
            <a:ext cx="2218934" cy="276153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Step 1: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</p:txBody>
      </p:sp>
      <p:sp>
        <p:nvSpPr>
          <p:cNvPr id="15" name="Symbol zastępczy tekstu 36">
            <a:extLst>
              <a:ext uri="{FF2B5EF4-FFF2-40B4-BE49-F238E27FC236}">
                <a16:creationId xmlns:a16="http://schemas.microsoft.com/office/drawing/2014/main" id="{B8E25828-BA99-DE75-03AB-6047BAFA9C0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37286" y="4119385"/>
            <a:ext cx="2218934" cy="276153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Step 2: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</p:txBody>
      </p:sp>
      <p:sp>
        <p:nvSpPr>
          <p:cNvPr id="16" name="Symbol zastępczy tekstu 36">
            <a:extLst>
              <a:ext uri="{FF2B5EF4-FFF2-40B4-BE49-F238E27FC236}">
                <a16:creationId xmlns:a16="http://schemas.microsoft.com/office/drawing/2014/main" id="{BD3E1331-1DE3-CDE3-8F17-825B3AA4D3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35516" y="4119385"/>
            <a:ext cx="2218934" cy="276153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Step 3: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</p:txBody>
      </p:sp>
      <p:sp>
        <p:nvSpPr>
          <p:cNvPr id="17" name="Symbol zastępczy tekstu 36">
            <a:extLst>
              <a:ext uri="{FF2B5EF4-FFF2-40B4-BE49-F238E27FC236}">
                <a16:creationId xmlns:a16="http://schemas.microsoft.com/office/drawing/2014/main" id="{BB81BE40-5DF2-2E27-9963-0FE8E459D8D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948737" y="4119385"/>
            <a:ext cx="2218934" cy="276153"/>
          </a:xfrm>
          <a:prstGeom prst="rect">
            <a:avLst/>
          </a:prstGeom>
        </p:spPr>
        <p:txBody>
          <a:bodyPr tIns="0" bIns="0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200"/>
              </a:spcAft>
              <a:buFontTx/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r>
              <a:rPr lang="pl-PL"/>
              <a:t>Step 4: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endParaRPr lang="pl-PL"/>
          </a:p>
        </p:txBody>
      </p:sp>
      <p:sp>
        <p:nvSpPr>
          <p:cNvPr id="18" name="Symbol zastępczy tekstu 6">
            <a:extLst>
              <a:ext uri="{FF2B5EF4-FFF2-40B4-BE49-F238E27FC236}">
                <a16:creationId xmlns:a16="http://schemas.microsoft.com/office/drawing/2014/main" id="{71DF05B8-4A09-4817-6570-D888575044C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948738" y="4626425"/>
            <a:ext cx="2218933" cy="1460050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200"/>
            </a:lvl3pPr>
            <a:lvl4pPr algn="l">
              <a:defRPr sz="1200"/>
            </a:lvl4pPr>
            <a:lvl5pPr algn="l"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19" name="Symbol zastępczy tekstu 6">
            <a:extLst>
              <a:ext uri="{FF2B5EF4-FFF2-40B4-BE49-F238E27FC236}">
                <a16:creationId xmlns:a16="http://schemas.microsoft.com/office/drawing/2014/main" id="{5097F8D5-A324-9A32-803F-445F73B1348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235517" y="4626425"/>
            <a:ext cx="2218933" cy="1460050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200"/>
            </a:lvl3pPr>
            <a:lvl4pPr algn="l">
              <a:defRPr sz="1200"/>
            </a:lvl4pPr>
            <a:lvl5pPr algn="l"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20" name="Symbol zastępczy tekstu 6">
            <a:extLst>
              <a:ext uri="{FF2B5EF4-FFF2-40B4-BE49-F238E27FC236}">
                <a16:creationId xmlns:a16="http://schemas.microsoft.com/office/drawing/2014/main" id="{80137EBB-3318-E074-F60B-E16795C7E8A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537287" y="4626425"/>
            <a:ext cx="2218933" cy="1460050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200"/>
            </a:lvl3pPr>
            <a:lvl4pPr algn="l">
              <a:defRPr sz="1200"/>
            </a:lvl4pPr>
            <a:lvl5pPr algn="l"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  <p:sp>
        <p:nvSpPr>
          <p:cNvPr id="21" name="Symbol zastępczy tekstu 6">
            <a:extLst>
              <a:ext uri="{FF2B5EF4-FFF2-40B4-BE49-F238E27FC236}">
                <a16:creationId xmlns:a16="http://schemas.microsoft.com/office/drawing/2014/main" id="{3E1A3F6E-C4B5-85BC-16BB-6617DD39510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39057" y="4626425"/>
            <a:ext cx="2218933" cy="1460050"/>
          </a:xfrm>
        </p:spPr>
        <p:txBody>
          <a:bodyPr/>
          <a:lstStyle>
            <a:lvl1pPr algn="l">
              <a:defRPr sz="1400"/>
            </a:lvl1pPr>
            <a:lvl2pPr algn="l">
              <a:defRPr sz="1400"/>
            </a:lvl2pPr>
            <a:lvl3pPr algn="l">
              <a:defRPr sz="1200"/>
            </a:lvl3pPr>
            <a:lvl4pPr algn="l">
              <a:defRPr sz="1200"/>
            </a:lvl4pPr>
            <a:lvl5pPr algn="l"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90110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with PTV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>
            <a:extLst>
              <a:ext uri="{FF2B5EF4-FFF2-40B4-BE49-F238E27FC236}">
                <a16:creationId xmlns:a16="http://schemas.microsoft.com/office/drawing/2014/main" id="{4E8C09C8-7144-111A-01CE-732E72EE1F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2" name="pole tekstowe 1">
            <a:extLst>
              <a:ext uri="{FF2B5EF4-FFF2-40B4-BE49-F238E27FC236}">
                <a16:creationId xmlns:a16="http://schemas.microsoft.com/office/drawing/2014/main" id="{7C409914-305D-C638-6E19-BFDD83B2AFDB}"/>
              </a:ext>
            </a:extLst>
          </p:cNvPr>
          <p:cNvSpPr txBox="1"/>
          <p:nvPr userDrawn="1"/>
        </p:nvSpPr>
        <p:spPr>
          <a:xfrm>
            <a:off x="2468880" y="3291840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algn="l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29958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[with BRIGHT pictur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ymbol zastępczy obrazu 16">
            <a:extLst>
              <a:ext uri="{FF2B5EF4-FFF2-40B4-BE49-F238E27FC236}">
                <a16:creationId xmlns:a16="http://schemas.microsoft.com/office/drawing/2014/main" id="{A07E4FAE-1B54-2248-9C89-8D4FEB69A75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sp>
        <p:nvSpPr>
          <p:cNvPr id="13" name="Tytuł 13">
            <a:extLst>
              <a:ext uri="{FF2B5EF4-FFF2-40B4-BE49-F238E27FC236}">
                <a16:creationId xmlns:a16="http://schemas.microsoft.com/office/drawing/2014/main" id="{0ADAB18A-53E9-EC42-9123-8CBC09144B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445276"/>
            <a:ext cx="10515600" cy="748245"/>
          </a:xfrm>
          <a:prstGeom prst="rect">
            <a:avLst/>
          </a:prstGeom>
        </p:spPr>
        <p:txBody>
          <a:bodyPr/>
          <a:lstStyle>
            <a:lvl1pPr algn="ctr">
              <a:defRPr sz="6000" b="0" i="0" cap="all" baseline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Presentation TITLE</a:t>
            </a:r>
          </a:p>
        </p:txBody>
      </p:sp>
      <p:sp>
        <p:nvSpPr>
          <p:cNvPr id="18" name="Symbol zastępczy tekstu 15">
            <a:extLst>
              <a:ext uri="{FF2B5EF4-FFF2-40B4-BE49-F238E27FC236}">
                <a16:creationId xmlns:a16="http://schemas.microsoft.com/office/drawing/2014/main" id="{C0CC791A-447C-7F4C-B414-C457066B74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82847" y="4077990"/>
            <a:ext cx="5226306" cy="160655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24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pl-PL"/>
              <a:t>Speaker</a:t>
            </a:r>
            <a:br>
              <a:rPr lang="pl-PL"/>
            </a:br>
            <a:r>
              <a:rPr lang="pl-PL" err="1"/>
              <a:t>Date</a:t>
            </a:r>
            <a:br>
              <a:rPr lang="pl-PL"/>
            </a:br>
            <a:r>
              <a:rPr lang="pl-PL" err="1"/>
              <a:t>Location</a:t>
            </a:r>
            <a:br>
              <a:rPr lang="pl-PL"/>
            </a:br>
            <a:r>
              <a:rPr lang="pl-PL"/>
              <a:t>etc.</a:t>
            </a: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818661C1-4DF8-8E57-FB9A-FBDBE79F55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72050" y="1385581"/>
            <a:ext cx="1847900" cy="420950"/>
          </a:xfrm>
          <a:prstGeom prst="rect">
            <a:avLst/>
          </a:prstGeom>
        </p:spPr>
      </p:pic>
      <p:cxnSp>
        <p:nvCxnSpPr>
          <p:cNvPr id="3" name="Łącznik prosty 2">
            <a:extLst>
              <a:ext uri="{FF2B5EF4-FFF2-40B4-BE49-F238E27FC236}">
                <a16:creationId xmlns:a16="http://schemas.microsoft.com/office/drawing/2014/main" id="{70A4A619-CB9A-9E96-7DB2-892EF5921AF0}"/>
              </a:ext>
            </a:extLst>
          </p:cNvPr>
          <p:cNvCxnSpPr>
            <a:cxnSpLocks/>
          </p:cNvCxnSpPr>
          <p:nvPr userDrawn="1"/>
        </p:nvCxnSpPr>
        <p:spPr>
          <a:xfrm>
            <a:off x="5146745" y="3433036"/>
            <a:ext cx="1898510" cy="0"/>
          </a:xfrm>
          <a:prstGeom prst="line">
            <a:avLst/>
          </a:prstGeom>
          <a:ln w="165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28787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3123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az 12">
            <a:extLst>
              <a:ext uri="{FF2B5EF4-FFF2-40B4-BE49-F238E27FC236}">
                <a16:creationId xmlns:a16="http://schemas.microsoft.com/office/drawing/2014/main" id="{48E36F1D-3027-E668-D39B-9D78A51B74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4" name="Symbol zastępczy tekstu 34">
            <a:extLst>
              <a:ext uri="{FF2B5EF4-FFF2-40B4-BE49-F238E27FC236}">
                <a16:creationId xmlns:a16="http://schemas.microsoft.com/office/drawing/2014/main" id="{DC461579-F4D5-860F-4294-3B53FBCA31E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073" y="31634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TITLE: Basic </a:t>
            </a:r>
            <a:r>
              <a:rPr lang="pl-PL" err="1"/>
              <a:t>table</a:t>
            </a:r>
            <a:endParaRPr lang="pl-PL"/>
          </a:p>
        </p:txBody>
      </p:sp>
      <p:cxnSp>
        <p:nvCxnSpPr>
          <p:cNvPr id="5" name="Łącznik prosty 4">
            <a:extLst>
              <a:ext uri="{FF2B5EF4-FFF2-40B4-BE49-F238E27FC236}">
                <a16:creationId xmlns:a16="http://schemas.microsoft.com/office/drawing/2014/main" id="{ECC3A4AE-626F-9F5B-1963-B8B164AD06F6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846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orkstreams Sta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az 12">
            <a:extLst>
              <a:ext uri="{FF2B5EF4-FFF2-40B4-BE49-F238E27FC236}">
                <a16:creationId xmlns:a16="http://schemas.microsoft.com/office/drawing/2014/main" id="{48E36F1D-3027-E668-D39B-9D78A51B74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2" name="Symbol zastępczy tekstu 34">
            <a:extLst>
              <a:ext uri="{FF2B5EF4-FFF2-40B4-BE49-F238E27FC236}">
                <a16:creationId xmlns:a16="http://schemas.microsoft.com/office/drawing/2014/main" id="{33CFFD81-E4F6-9D72-EF9A-9605C6B8FD7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073" y="316341"/>
            <a:ext cx="5919054" cy="57108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TITLE: </a:t>
            </a:r>
            <a:r>
              <a:rPr lang="pl-PL" err="1"/>
              <a:t>Workstream</a:t>
            </a:r>
            <a:r>
              <a:rPr lang="pl-PL"/>
              <a:t> status</a:t>
            </a:r>
          </a:p>
        </p:txBody>
      </p:sp>
      <p:cxnSp>
        <p:nvCxnSpPr>
          <p:cNvPr id="3" name="Łącznik prosty 2">
            <a:extLst>
              <a:ext uri="{FF2B5EF4-FFF2-40B4-BE49-F238E27FC236}">
                <a16:creationId xmlns:a16="http://schemas.microsoft.com/office/drawing/2014/main" id="{415D6715-7888-CE40-55DF-E5602800592D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4178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ith Sche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az 12">
            <a:extLst>
              <a:ext uri="{FF2B5EF4-FFF2-40B4-BE49-F238E27FC236}">
                <a16:creationId xmlns:a16="http://schemas.microsoft.com/office/drawing/2014/main" id="{48E36F1D-3027-E668-D39B-9D78A51B74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4" name="Symbol zastępczy tekstu 34">
            <a:extLst>
              <a:ext uri="{FF2B5EF4-FFF2-40B4-BE49-F238E27FC236}">
                <a16:creationId xmlns:a16="http://schemas.microsoft.com/office/drawing/2014/main" id="{12FE10C2-86C1-AD5A-2BE3-C0628B7F94D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073" y="316341"/>
            <a:ext cx="3702640" cy="57108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TITLE: Schedule</a:t>
            </a:r>
          </a:p>
        </p:txBody>
      </p:sp>
      <p:cxnSp>
        <p:nvCxnSpPr>
          <p:cNvPr id="5" name="Łącznik prosty 4">
            <a:extLst>
              <a:ext uri="{FF2B5EF4-FFF2-40B4-BE49-F238E27FC236}">
                <a16:creationId xmlns:a16="http://schemas.microsoft.com/office/drawing/2014/main" id="{EDE2FB89-179E-7470-43F1-925DC6ACEF45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49155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 slide [BLU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rostokąt 6">
            <a:extLst>
              <a:ext uri="{FF2B5EF4-FFF2-40B4-BE49-F238E27FC236}">
                <a16:creationId xmlns:a16="http://schemas.microsoft.com/office/drawing/2014/main" id="{BB3E7799-C150-2E47-88F5-998C49ABBD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6350">
            <a:noFill/>
          </a:ln>
          <a:effectLst>
            <a:glow>
              <a:schemeClr val="accent1">
                <a:satMod val="175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bg1"/>
              </a:solidFill>
            </a:endParaRP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4857821B-6B28-F34C-B018-53DA23619F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72050" y="1385581"/>
            <a:ext cx="1847900" cy="420950"/>
          </a:xfrm>
          <a:prstGeom prst="rect">
            <a:avLst/>
          </a:prstGeom>
        </p:spPr>
      </p:pic>
      <p:cxnSp>
        <p:nvCxnSpPr>
          <p:cNvPr id="10" name="Łącznik prosty 9">
            <a:extLst>
              <a:ext uri="{FF2B5EF4-FFF2-40B4-BE49-F238E27FC236}">
                <a16:creationId xmlns:a16="http://schemas.microsoft.com/office/drawing/2014/main" id="{A8412791-40E7-694C-8DFF-64533DF890C8}"/>
              </a:ext>
            </a:extLst>
          </p:cNvPr>
          <p:cNvCxnSpPr>
            <a:cxnSpLocks/>
          </p:cNvCxnSpPr>
          <p:nvPr userDrawn="1"/>
        </p:nvCxnSpPr>
        <p:spPr>
          <a:xfrm>
            <a:off x="5146745" y="3433036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Obraz 8">
            <a:extLst>
              <a:ext uri="{FF2B5EF4-FFF2-40B4-BE49-F238E27FC236}">
                <a16:creationId xmlns:a16="http://schemas.microsoft.com/office/drawing/2014/main" id="{BC357941-35CD-BD49-9696-673FD4A358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6323" b="4074"/>
          <a:stretch/>
        </p:blipFill>
        <p:spPr>
          <a:xfrm>
            <a:off x="5296053" y="-369131"/>
            <a:ext cx="1696408" cy="1529709"/>
          </a:xfrm>
          <a:prstGeom prst="rect">
            <a:avLst/>
          </a:prstGeom>
        </p:spPr>
      </p:pic>
      <p:sp>
        <p:nvSpPr>
          <p:cNvPr id="2" name="pole tekstowe 1">
            <a:extLst>
              <a:ext uri="{FF2B5EF4-FFF2-40B4-BE49-F238E27FC236}">
                <a16:creationId xmlns:a16="http://schemas.microsoft.com/office/drawing/2014/main" id="{117FCB36-0757-7D0F-00FE-0DCFEC8659AA}"/>
              </a:ext>
            </a:extLst>
          </p:cNvPr>
          <p:cNvSpPr txBox="1"/>
          <p:nvPr userDrawn="1"/>
        </p:nvSpPr>
        <p:spPr>
          <a:xfrm>
            <a:off x="5305044" y="3645120"/>
            <a:ext cx="1581912" cy="1536192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pl-PL" sz="150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5620139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 slide [BLACK and WHIT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>
            <a:extLst>
              <a:ext uri="{FF2B5EF4-FFF2-40B4-BE49-F238E27FC236}">
                <a16:creationId xmlns:a16="http://schemas.microsoft.com/office/drawing/2014/main" id="{4857821B-6B28-F34C-B018-53DA23619F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72050" y="1385581"/>
            <a:ext cx="1847900" cy="420950"/>
          </a:xfrm>
          <a:prstGeom prst="rect">
            <a:avLst/>
          </a:prstGeom>
        </p:spPr>
      </p:pic>
      <p:cxnSp>
        <p:nvCxnSpPr>
          <p:cNvPr id="10" name="Łącznik prosty 9">
            <a:extLst>
              <a:ext uri="{FF2B5EF4-FFF2-40B4-BE49-F238E27FC236}">
                <a16:creationId xmlns:a16="http://schemas.microsoft.com/office/drawing/2014/main" id="{A8412791-40E7-694C-8DFF-64533DF890C8}"/>
              </a:ext>
            </a:extLst>
          </p:cNvPr>
          <p:cNvCxnSpPr>
            <a:cxnSpLocks/>
          </p:cNvCxnSpPr>
          <p:nvPr userDrawn="1"/>
        </p:nvCxnSpPr>
        <p:spPr>
          <a:xfrm>
            <a:off x="5146745" y="3433036"/>
            <a:ext cx="1898510" cy="0"/>
          </a:xfrm>
          <a:prstGeom prst="line">
            <a:avLst/>
          </a:prstGeom>
          <a:ln w="165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ole tekstowe 1">
            <a:extLst>
              <a:ext uri="{FF2B5EF4-FFF2-40B4-BE49-F238E27FC236}">
                <a16:creationId xmlns:a16="http://schemas.microsoft.com/office/drawing/2014/main" id="{EC4F83C3-F84E-0425-F617-E5F9843D8049}"/>
              </a:ext>
            </a:extLst>
          </p:cNvPr>
          <p:cNvSpPr txBox="1"/>
          <p:nvPr userDrawn="1"/>
        </p:nvSpPr>
        <p:spPr>
          <a:xfrm>
            <a:off x="5305044" y="3645120"/>
            <a:ext cx="1581912" cy="1536192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pl-PL" sz="15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2019782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 slide [with DARK pictur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obrazu 16">
            <a:extLst>
              <a:ext uri="{FF2B5EF4-FFF2-40B4-BE49-F238E27FC236}">
                <a16:creationId xmlns:a16="http://schemas.microsoft.com/office/drawing/2014/main" id="{D3825842-9EFF-0A8A-E1F6-ABF649BA5EE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9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cxnSp>
        <p:nvCxnSpPr>
          <p:cNvPr id="10" name="Łącznik prosty 9">
            <a:extLst>
              <a:ext uri="{FF2B5EF4-FFF2-40B4-BE49-F238E27FC236}">
                <a16:creationId xmlns:a16="http://schemas.microsoft.com/office/drawing/2014/main" id="{A8412791-40E7-694C-8DFF-64533DF890C8}"/>
              </a:ext>
            </a:extLst>
          </p:cNvPr>
          <p:cNvCxnSpPr>
            <a:cxnSpLocks/>
          </p:cNvCxnSpPr>
          <p:nvPr userDrawn="1"/>
        </p:nvCxnSpPr>
        <p:spPr>
          <a:xfrm>
            <a:off x="5146745" y="3433036"/>
            <a:ext cx="1898510" cy="0"/>
          </a:xfrm>
          <a:prstGeom prst="line">
            <a:avLst/>
          </a:prstGeom>
          <a:ln w="165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ole tekstowe 1">
            <a:extLst>
              <a:ext uri="{FF2B5EF4-FFF2-40B4-BE49-F238E27FC236}">
                <a16:creationId xmlns:a16="http://schemas.microsoft.com/office/drawing/2014/main" id="{EC4F83C3-F84E-0425-F617-E5F9843D8049}"/>
              </a:ext>
            </a:extLst>
          </p:cNvPr>
          <p:cNvSpPr txBox="1"/>
          <p:nvPr userDrawn="1"/>
        </p:nvSpPr>
        <p:spPr>
          <a:xfrm>
            <a:off x="5305044" y="3645120"/>
            <a:ext cx="1581912" cy="1536192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pl-PL" sz="150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?</a:t>
            </a: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4E359288-7C48-DAC9-4F92-BA80F98034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172050" y="1386270"/>
            <a:ext cx="1847900" cy="419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7685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 slide [with BRIGHT pictur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obrazu 16">
            <a:extLst>
              <a:ext uri="{FF2B5EF4-FFF2-40B4-BE49-F238E27FC236}">
                <a16:creationId xmlns:a16="http://schemas.microsoft.com/office/drawing/2014/main" id="{8559ECBE-F581-78D3-E330-C5264488345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4857821B-6B28-F34C-B018-53DA23619F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72050" y="1385581"/>
            <a:ext cx="1847900" cy="420950"/>
          </a:xfrm>
          <a:prstGeom prst="rect">
            <a:avLst/>
          </a:prstGeom>
        </p:spPr>
      </p:pic>
      <p:cxnSp>
        <p:nvCxnSpPr>
          <p:cNvPr id="10" name="Łącznik prosty 9">
            <a:extLst>
              <a:ext uri="{FF2B5EF4-FFF2-40B4-BE49-F238E27FC236}">
                <a16:creationId xmlns:a16="http://schemas.microsoft.com/office/drawing/2014/main" id="{A8412791-40E7-694C-8DFF-64533DF890C8}"/>
              </a:ext>
            </a:extLst>
          </p:cNvPr>
          <p:cNvCxnSpPr>
            <a:cxnSpLocks/>
          </p:cNvCxnSpPr>
          <p:nvPr userDrawn="1"/>
        </p:nvCxnSpPr>
        <p:spPr>
          <a:xfrm>
            <a:off x="5146745" y="3433036"/>
            <a:ext cx="1898510" cy="0"/>
          </a:xfrm>
          <a:prstGeom prst="line">
            <a:avLst/>
          </a:prstGeom>
          <a:ln w="165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ole tekstowe 1">
            <a:extLst>
              <a:ext uri="{FF2B5EF4-FFF2-40B4-BE49-F238E27FC236}">
                <a16:creationId xmlns:a16="http://schemas.microsoft.com/office/drawing/2014/main" id="{EC4F83C3-F84E-0425-F617-E5F9843D8049}"/>
              </a:ext>
            </a:extLst>
          </p:cNvPr>
          <p:cNvSpPr txBox="1"/>
          <p:nvPr userDrawn="1"/>
        </p:nvSpPr>
        <p:spPr>
          <a:xfrm>
            <a:off x="5305044" y="3645120"/>
            <a:ext cx="1581912" cy="1536192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pl-PL" sz="15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2600849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+ contact [BLU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rostokąt 6">
            <a:extLst>
              <a:ext uri="{FF2B5EF4-FFF2-40B4-BE49-F238E27FC236}">
                <a16:creationId xmlns:a16="http://schemas.microsoft.com/office/drawing/2014/main" id="{BB3E7799-C150-2E47-88F5-998C49ABBD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6350">
            <a:noFill/>
          </a:ln>
          <a:effectLst>
            <a:glow>
              <a:schemeClr val="accent1">
                <a:satMod val="175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bg1"/>
              </a:solidFill>
            </a:endParaRP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4857821B-6B28-F34C-B018-53DA23619F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72050" y="1385581"/>
            <a:ext cx="1847900" cy="420950"/>
          </a:xfrm>
          <a:prstGeom prst="rect">
            <a:avLst/>
          </a:prstGeom>
        </p:spPr>
      </p:pic>
      <p:cxnSp>
        <p:nvCxnSpPr>
          <p:cNvPr id="10" name="Łącznik prosty 9">
            <a:extLst>
              <a:ext uri="{FF2B5EF4-FFF2-40B4-BE49-F238E27FC236}">
                <a16:creationId xmlns:a16="http://schemas.microsoft.com/office/drawing/2014/main" id="{A8412791-40E7-694C-8DFF-64533DF890C8}"/>
              </a:ext>
            </a:extLst>
          </p:cNvPr>
          <p:cNvCxnSpPr>
            <a:cxnSpLocks/>
          </p:cNvCxnSpPr>
          <p:nvPr userDrawn="1"/>
        </p:nvCxnSpPr>
        <p:spPr>
          <a:xfrm>
            <a:off x="5146745" y="3433036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ymbol zastępczy tekstu 36">
            <a:extLst>
              <a:ext uri="{FF2B5EF4-FFF2-40B4-BE49-F238E27FC236}">
                <a16:creationId xmlns:a16="http://schemas.microsoft.com/office/drawing/2014/main" id="{EF4B3D90-8644-0346-8422-D382A1B95D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1062" y="4880393"/>
            <a:ext cx="3802738" cy="17204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600">
                <a:solidFill>
                  <a:schemeClr val="bg2"/>
                </a:solidFill>
              </a:defRPr>
            </a:lvl1pPr>
          </a:lstStyle>
          <a:p>
            <a:r>
              <a:rPr lang="pl-PL" err="1"/>
              <a:t>Contact</a:t>
            </a:r>
            <a:r>
              <a:rPr lang="pl-PL"/>
              <a:t>:</a:t>
            </a:r>
            <a:br>
              <a:rPr lang="pl-PL"/>
            </a:br>
            <a:r>
              <a:rPr lang="pl-PL" err="1"/>
              <a:t>Name</a:t>
            </a:r>
            <a:r>
              <a:rPr lang="pl-PL"/>
              <a:t> </a:t>
            </a:r>
            <a:r>
              <a:rPr lang="pl-PL" err="1"/>
              <a:t>Surname</a:t>
            </a:r>
            <a:br>
              <a:rPr lang="pl-PL"/>
            </a:br>
            <a:r>
              <a:rPr lang="pl-PL"/>
              <a:t>+12 345 678 901</a:t>
            </a:r>
            <a:br>
              <a:rPr lang="pl-PL"/>
            </a:br>
            <a:r>
              <a:rPr lang="pl-PL"/>
              <a:t>email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4FDB511C-034B-A6C9-5A5F-10E117889788}"/>
              </a:ext>
            </a:extLst>
          </p:cNvPr>
          <p:cNvSpPr txBox="1"/>
          <p:nvPr userDrawn="1"/>
        </p:nvSpPr>
        <p:spPr>
          <a:xfrm>
            <a:off x="-1869141" y="-1506071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algn="l"/>
            <a:endParaRPr lang="pl-PL"/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E9FED255-231C-8ADC-4FC1-E2710D03E7D2}"/>
              </a:ext>
            </a:extLst>
          </p:cNvPr>
          <p:cNvSpPr txBox="1"/>
          <p:nvPr userDrawn="1"/>
        </p:nvSpPr>
        <p:spPr>
          <a:xfrm>
            <a:off x="5305044" y="3645120"/>
            <a:ext cx="1581912" cy="1536192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pl-PL" sz="150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?</a:t>
            </a:r>
          </a:p>
        </p:txBody>
      </p:sp>
      <p:pic>
        <p:nvPicPr>
          <p:cNvPr id="2" name="Obraz 8">
            <a:extLst>
              <a:ext uri="{FF2B5EF4-FFF2-40B4-BE49-F238E27FC236}">
                <a16:creationId xmlns:a16="http://schemas.microsoft.com/office/drawing/2014/main" id="{0794797E-FB44-DCC2-CE2C-1A40F21916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6323" b="4074"/>
          <a:stretch/>
        </p:blipFill>
        <p:spPr>
          <a:xfrm>
            <a:off x="5296053" y="-369131"/>
            <a:ext cx="1696408" cy="152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359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+ contact [BLACK and WHIT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>
            <a:extLst>
              <a:ext uri="{FF2B5EF4-FFF2-40B4-BE49-F238E27FC236}">
                <a16:creationId xmlns:a16="http://schemas.microsoft.com/office/drawing/2014/main" id="{4857821B-6B28-F34C-B018-53DA23619F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72050" y="1385581"/>
            <a:ext cx="1847900" cy="420950"/>
          </a:xfrm>
          <a:prstGeom prst="rect">
            <a:avLst/>
          </a:prstGeom>
        </p:spPr>
      </p:pic>
      <p:cxnSp>
        <p:nvCxnSpPr>
          <p:cNvPr id="10" name="Łącznik prosty 9">
            <a:extLst>
              <a:ext uri="{FF2B5EF4-FFF2-40B4-BE49-F238E27FC236}">
                <a16:creationId xmlns:a16="http://schemas.microsoft.com/office/drawing/2014/main" id="{A8412791-40E7-694C-8DFF-64533DF890C8}"/>
              </a:ext>
            </a:extLst>
          </p:cNvPr>
          <p:cNvCxnSpPr>
            <a:cxnSpLocks/>
          </p:cNvCxnSpPr>
          <p:nvPr userDrawn="1"/>
        </p:nvCxnSpPr>
        <p:spPr>
          <a:xfrm>
            <a:off x="5146745" y="3433036"/>
            <a:ext cx="1898510" cy="0"/>
          </a:xfrm>
          <a:prstGeom prst="line">
            <a:avLst/>
          </a:prstGeom>
          <a:ln w="165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ole tekstowe 3">
            <a:extLst>
              <a:ext uri="{FF2B5EF4-FFF2-40B4-BE49-F238E27FC236}">
                <a16:creationId xmlns:a16="http://schemas.microsoft.com/office/drawing/2014/main" id="{4FDB511C-034B-A6C9-5A5F-10E117889788}"/>
              </a:ext>
            </a:extLst>
          </p:cNvPr>
          <p:cNvSpPr txBox="1"/>
          <p:nvPr userDrawn="1"/>
        </p:nvSpPr>
        <p:spPr>
          <a:xfrm>
            <a:off x="-1869141" y="-1506071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/>
          <a:p>
            <a:pPr algn="l"/>
            <a:endParaRPr lang="pl-PL"/>
          </a:p>
        </p:txBody>
      </p:sp>
      <p:sp>
        <p:nvSpPr>
          <p:cNvPr id="2" name="pole tekstowe 1">
            <a:extLst>
              <a:ext uri="{FF2B5EF4-FFF2-40B4-BE49-F238E27FC236}">
                <a16:creationId xmlns:a16="http://schemas.microsoft.com/office/drawing/2014/main" id="{B0376864-4F36-1EA0-B0BE-F14CA4B892A6}"/>
              </a:ext>
            </a:extLst>
          </p:cNvPr>
          <p:cNvSpPr txBox="1"/>
          <p:nvPr userDrawn="1"/>
        </p:nvSpPr>
        <p:spPr>
          <a:xfrm>
            <a:off x="5305044" y="3645120"/>
            <a:ext cx="1581912" cy="1536192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/>
            <a:r>
              <a:rPr lang="pl-PL" sz="15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?</a:t>
            </a:r>
          </a:p>
        </p:txBody>
      </p:sp>
      <p:sp>
        <p:nvSpPr>
          <p:cNvPr id="3" name="Symbol zastępczy tekstu 36">
            <a:extLst>
              <a:ext uri="{FF2B5EF4-FFF2-40B4-BE49-F238E27FC236}">
                <a16:creationId xmlns:a16="http://schemas.microsoft.com/office/drawing/2014/main" id="{DDFBF47D-654A-E71C-09FD-5D41202E25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1062" y="4880393"/>
            <a:ext cx="3802738" cy="17204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pl-PL" err="1"/>
              <a:t>Contact</a:t>
            </a:r>
            <a:r>
              <a:rPr lang="pl-PL"/>
              <a:t>:</a:t>
            </a:r>
            <a:br>
              <a:rPr lang="pl-PL"/>
            </a:br>
            <a:r>
              <a:rPr lang="pl-PL" err="1"/>
              <a:t>Name</a:t>
            </a:r>
            <a:r>
              <a:rPr lang="pl-PL"/>
              <a:t> </a:t>
            </a:r>
            <a:r>
              <a:rPr lang="pl-PL" err="1"/>
              <a:t>Surname</a:t>
            </a:r>
            <a:br>
              <a:rPr lang="pl-PL"/>
            </a:br>
            <a:r>
              <a:rPr lang="pl-PL"/>
              <a:t>+12 345 678 901</a:t>
            </a:r>
            <a:br>
              <a:rPr lang="pl-PL"/>
            </a:br>
            <a:r>
              <a:rPr lang="pl-PL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23624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[Photo on half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ytuł 13">
            <a:extLst>
              <a:ext uri="{FF2B5EF4-FFF2-40B4-BE49-F238E27FC236}">
                <a16:creationId xmlns:a16="http://schemas.microsoft.com/office/drawing/2014/main" id="{0ADAB18A-53E9-EC42-9123-8CBC09144B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45256" y="2445276"/>
            <a:ext cx="4861604" cy="846540"/>
          </a:xfrm>
          <a:prstGeom prst="rect">
            <a:avLst/>
          </a:prstGeom>
        </p:spPr>
        <p:txBody>
          <a:bodyPr lIns="0">
            <a:normAutofit/>
          </a:bodyPr>
          <a:lstStyle>
            <a:lvl1pPr algn="l">
              <a:defRPr sz="3000" b="0" i="0" cap="all" baseline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/>
              <a:t>Presentation </a:t>
            </a:r>
            <a:br>
              <a:rPr lang="pl-PL"/>
            </a:br>
            <a:r>
              <a:rPr lang="pl-PL"/>
              <a:t>TITLE</a:t>
            </a:r>
          </a:p>
        </p:txBody>
      </p:sp>
      <p:sp>
        <p:nvSpPr>
          <p:cNvPr id="18" name="Symbol zastępczy tekstu 15">
            <a:extLst>
              <a:ext uri="{FF2B5EF4-FFF2-40B4-BE49-F238E27FC236}">
                <a16:creationId xmlns:a16="http://schemas.microsoft.com/office/drawing/2014/main" id="{C0CC791A-447C-7F4C-B414-C457066B74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45256" y="4077990"/>
            <a:ext cx="4861604" cy="1606550"/>
          </a:xfrm>
          <a:prstGeom prst="rect">
            <a:avLst/>
          </a:prstGeom>
        </p:spPr>
        <p:txBody>
          <a:bodyPr lIns="0"/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pl-PL"/>
              <a:t>Speaker</a:t>
            </a:r>
            <a:br>
              <a:rPr lang="pl-PL"/>
            </a:br>
            <a:r>
              <a:rPr lang="pl-PL" err="1"/>
              <a:t>Date</a:t>
            </a:r>
            <a:br>
              <a:rPr lang="pl-PL"/>
            </a:br>
            <a:r>
              <a:rPr lang="pl-PL" err="1"/>
              <a:t>Location</a:t>
            </a:r>
            <a:br>
              <a:rPr lang="pl-PL"/>
            </a:br>
            <a:r>
              <a:rPr lang="pl-PL"/>
              <a:t>etc.</a:t>
            </a: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818661C1-4DF8-8E57-FB9A-FBDBE79F55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45255" y="1385581"/>
            <a:ext cx="1847900" cy="420950"/>
          </a:xfrm>
          <a:prstGeom prst="rect">
            <a:avLst/>
          </a:prstGeom>
        </p:spPr>
      </p:pic>
      <p:cxnSp>
        <p:nvCxnSpPr>
          <p:cNvPr id="3" name="Łącznik prosty 2">
            <a:extLst>
              <a:ext uri="{FF2B5EF4-FFF2-40B4-BE49-F238E27FC236}">
                <a16:creationId xmlns:a16="http://schemas.microsoft.com/office/drawing/2014/main" id="{70A4A619-CB9A-9E96-7DB2-892EF5921AF0}"/>
              </a:ext>
            </a:extLst>
          </p:cNvPr>
          <p:cNvCxnSpPr>
            <a:cxnSpLocks/>
          </p:cNvCxnSpPr>
          <p:nvPr userDrawn="1"/>
        </p:nvCxnSpPr>
        <p:spPr>
          <a:xfrm>
            <a:off x="7045255" y="3433036"/>
            <a:ext cx="1898510" cy="0"/>
          </a:xfrm>
          <a:prstGeom prst="line">
            <a:avLst/>
          </a:prstGeom>
          <a:ln w="165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ymbol zastępczy obrazu 38">
            <a:extLst>
              <a:ext uri="{FF2B5EF4-FFF2-40B4-BE49-F238E27FC236}">
                <a16:creationId xmlns:a16="http://schemas.microsoft.com/office/drawing/2014/main" id="{B446C1EB-60F5-A5F5-A1EB-F1ED11F7CF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4763"/>
            <a:ext cx="6095998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09031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B41C148-9B2D-4791-A811-D8496BE409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F77F5-439D-4899-A1D1-1D0676458760}" type="datetimeFigureOut">
              <a:rPr lang="de-DE" smtClean="0"/>
              <a:t>16.04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4FF9B36-FE3C-4821-AAE9-ADE4110F0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C68D257-2D5E-486E-8FD6-F4EDC1686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729AF5-AFF1-4B2F-BFF8-921E836E0386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2FAF5FA5-6E41-440E-9C6A-F62F61D3E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767" y="365125"/>
            <a:ext cx="10944211" cy="900000"/>
          </a:xfrm>
          <a:prstGeom prst="rect">
            <a:avLst/>
          </a:prstGeom>
        </p:spPr>
        <p:txBody>
          <a:bodyPr vert="horz" lIns="0" tIns="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690408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4822022" y="8176"/>
            <a:ext cx="7110000" cy="6859253"/>
          </a:xfrm>
          <a:solidFill>
            <a:schemeClr val="bg1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324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26147" y="3300781"/>
            <a:ext cx="6867429" cy="265864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4816097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 flipV="1">
            <a:off x="2681" y="748937"/>
            <a:ext cx="4812622" cy="151061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el 5"/>
          <p:cNvSpPr>
            <a:spLocks noGrp="1"/>
          </p:cNvSpPr>
          <p:nvPr>
            <p:ph type="title" hasCustomPrompt="1"/>
          </p:nvPr>
        </p:nvSpPr>
        <p:spPr>
          <a:xfrm>
            <a:off x="263526" y="260648"/>
            <a:ext cx="4551778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89545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einstie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26147" y="3300781"/>
            <a:ext cx="6867429" cy="265864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5878549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 flipV="1">
            <a:off x="2681" y="748936"/>
            <a:ext cx="5893022" cy="168359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el 5"/>
          <p:cNvSpPr>
            <a:spLocks noGrp="1"/>
          </p:cNvSpPr>
          <p:nvPr>
            <p:ph type="title" hasCustomPrompt="1"/>
          </p:nvPr>
        </p:nvSpPr>
        <p:spPr>
          <a:xfrm>
            <a:off x="263526" y="260648"/>
            <a:ext cx="4551778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89064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56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27825" y="3300647"/>
            <a:ext cx="6864823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21986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6189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19507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5710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0" y="1"/>
            <a:ext cx="12193588" cy="90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 dirty="0"/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4400"/>
            <a:ext cx="11928472" cy="991792"/>
          </a:xfrm>
          <a:solidFill>
            <a:schemeClr val="tx2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170000" tIns="72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</p:spTree>
    <p:extLst>
      <p:ext uri="{BB962C8B-B14F-4D97-AF65-F5344CB8AC3E}">
        <p14:creationId xmlns:p14="http://schemas.microsoft.com/office/powerpoint/2010/main" val="306880765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15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855445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3821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29100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058458"/>
            <a:ext cx="11449048" cy="500896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975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lang="de-DE" sz="11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fld id="{4CFEB0D3-1EB3-4F08-8062-95FFB9749870}" type="slidenum">
              <a:rPr lang="de-DE" smtClean="0"/>
              <a:pPr algn="ctr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65269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farbig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931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1904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[BLU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B69DA36B-5184-DC4C-9F09-74C07D5572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C05DBB74-35E8-9B4C-BA80-D69D626FCB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1ED23183-C4AC-F443-BB33-9CF1662853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7444"/>
          <a:stretch/>
        </p:blipFill>
        <p:spPr>
          <a:xfrm>
            <a:off x="10529088" y="1130"/>
            <a:ext cx="1810905" cy="1475972"/>
          </a:xfrm>
          <a:prstGeom prst="rect">
            <a:avLst/>
          </a:prstGeom>
        </p:spPr>
      </p:pic>
      <p:sp>
        <p:nvSpPr>
          <p:cNvPr id="9" name="Symbol zastępczy tekstu 14">
            <a:extLst>
              <a:ext uri="{FF2B5EF4-FFF2-40B4-BE49-F238E27FC236}">
                <a16:creationId xmlns:a16="http://schemas.microsoft.com/office/drawing/2014/main" id="{7ADABE78-C4BD-2D47-B0A3-0435213E7F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01948" y="2014100"/>
            <a:ext cx="3536822" cy="393955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endParaRPr lang="pl-PL"/>
          </a:p>
        </p:txBody>
      </p:sp>
      <p:cxnSp>
        <p:nvCxnSpPr>
          <p:cNvPr id="10" name="Łącznik prosty 9">
            <a:extLst>
              <a:ext uri="{FF2B5EF4-FFF2-40B4-BE49-F238E27FC236}">
                <a16:creationId xmlns:a16="http://schemas.microsoft.com/office/drawing/2014/main" id="{99D67695-04E7-C347-8C89-148C749566DA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ymbol zastępczy tekstu 14">
            <a:extLst>
              <a:ext uri="{FF2B5EF4-FFF2-40B4-BE49-F238E27FC236}">
                <a16:creationId xmlns:a16="http://schemas.microsoft.com/office/drawing/2014/main" id="{F3445453-5CC3-0421-1D40-63C16A46238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69990" y="2014100"/>
            <a:ext cx="3536822" cy="393956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endParaRPr lang="pl-PL"/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85ADC7E6-15A7-602A-BF76-95B994FD378D}"/>
              </a:ext>
            </a:extLst>
          </p:cNvPr>
          <p:cNvSpPr txBox="1"/>
          <p:nvPr userDrawn="1"/>
        </p:nvSpPr>
        <p:spPr>
          <a:xfrm>
            <a:off x="727073" y="267883"/>
            <a:ext cx="2952750" cy="61954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l"/>
            <a:r>
              <a:rPr lang="pl-PL" sz="3000" b="0" i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75448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4822022" y="-2841"/>
            <a:ext cx="7110000" cy="6859253"/>
          </a:xfrm>
          <a:solidFill>
            <a:schemeClr val="bg1"/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297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35B15152-362B-804E-8180-EB8D98DF2756}"/>
              </a:ext>
            </a:extLst>
          </p:cNvPr>
          <p:cNvSpPr/>
          <p:nvPr userDrawn="1"/>
        </p:nvSpPr>
        <p:spPr>
          <a:xfrm>
            <a:off x="4816097" y="-6350"/>
            <a:ext cx="45719" cy="6864350"/>
          </a:xfrm>
          <a:custGeom>
            <a:avLst/>
            <a:gdLst/>
            <a:ahLst/>
            <a:cxnLst/>
            <a:rect l="l" t="t" r="r" b="b"/>
            <a:pathLst>
              <a:path h="4698365">
                <a:moveTo>
                  <a:pt x="0" y="0"/>
                </a:moveTo>
                <a:lnTo>
                  <a:pt x="0" y="4697996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5">
            <a:extLst>
              <a:ext uri="{FF2B5EF4-FFF2-40B4-BE49-F238E27FC236}">
                <a16:creationId xmlns:a16="http://schemas.microsoft.com/office/drawing/2014/main" id="{616C383F-4C26-3742-8E54-12A54343F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44800"/>
            <a:ext cx="4799856" cy="641726"/>
          </a:xfrm>
          <a:solidFill>
            <a:schemeClr val="tx2"/>
          </a:solidFill>
          <a:effectLst>
            <a:outerShdw dist="27940" dir="5100000" algn="t" rotWithShape="0">
              <a:prstClr val="black"/>
            </a:outerShdw>
          </a:effectLst>
        </p:spPr>
        <p:txBody>
          <a:bodyPr wrap="square" lIns="262800" rIns="144000" bIns="20880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800" cap="all" spc="-7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KAp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33757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054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007445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einstieg 2_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6261746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7205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72269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475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kapitel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629416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einstie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7133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0" y="1"/>
            <a:ext cx="12193588" cy="90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900000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910800"/>
            <a:ext cx="11928472" cy="991792"/>
          </a:xfrm>
          <a:solidFill>
            <a:schemeClr val="tx2"/>
          </a:solidFill>
          <a:effectLst>
            <a:outerShdw dist="27940" dir="5400000" algn="t" rotWithShape="0">
              <a:schemeClr val="tx1"/>
            </a:outerShdw>
          </a:effectLst>
        </p:spPr>
        <p:txBody>
          <a:bodyPr lIns="1170000" tIns="72000" bIns="72000">
            <a:spAutoFit/>
          </a:bodyPr>
          <a:lstStyle>
            <a:lvl1pPr>
              <a:lnSpc>
                <a:spcPts val="6600"/>
              </a:lnSpc>
              <a:defRPr sz="60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 bearbeiten</a:t>
            </a:r>
          </a:p>
        </p:txBody>
      </p:sp>
    </p:spTree>
    <p:extLst>
      <p:ext uri="{BB962C8B-B14F-4D97-AF65-F5344CB8AC3E}">
        <p14:creationId xmlns:p14="http://schemas.microsoft.com/office/powerpoint/2010/main" val="17773610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457326"/>
            <a:ext cx="11449048" cy="46101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68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838407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143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1065214"/>
            <a:ext cx="11449048" cy="288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0462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>
          <a:xfrm>
            <a:off x="263525" y="1058458"/>
            <a:ext cx="11449048" cy="500896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5" name="Rechteck 4"/>
          <p:cNvSpPr/>
          <p:nvPr userDrawn="1"/>
        </p:nvSpPr>
        <p:spPr>
          <a:xfrm>
            <a:off x="-794" y="0"/>
            <a:ext cx="12193588" cy="899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80C4227-47B7-694C-8443-CF01E2AE097C}"/>
              </a:ext>
            </a:extLst>
          </p:cNvPr>
          <p:cNvSpPr/>
          <p:nvPr userDrawn="1"/>
        </p:nvSpPr>
        <p:spPr>
          <a:xfrm>
            <a:off x="2681" y="899998"/>
            <a:ext cx="12193200" cy="15846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92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9049" cy="396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4" y="6248400"/>
            <a:ext cx="11449049" cy="204788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100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ßnote durch Klicken hinzufüg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 vert="horz" lIns="0" tIns="0" rIns="0" bIns="0" rtlCol="0" anchor="ctr"/>
          <a:lstStyle>
            <a:lvl1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457973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Rödl&amp;Partn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7912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T America" panose="00000500000000000000" pitchFamily="2" charset="0"/>
              <a:sym typeface="GT America" panose="00000500000000000000" pitchFamily="2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GT America" panose="00000500000000000000" pitchFamily="2" charset="0"/>
              <a:ea typeface="+mn-ea"/>
              <a:cs typeface="+mn-cs"/>
              <a:sym typeface="GT America" panose="00000500000000000000" pitchFamily="2" charset="0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GT America" panose="00000500000000000000" pitchFamily="2" charset="0"/>
                <a:ea typeface="+mn-ea"/>
                <a:cs typeface="+mn-cs"/>
                <a:sym typeface="GT America" panose="00000500000000000000" pitchFamily="2" charset="0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  <a:lvl2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2pPr>
            <a:lvl3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3pPr>
            <a:lvl4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4pPr>
            <a:lvl5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5829375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Cany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4593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T America" panose="00000500000000000000" pitchFamily="2" charset="0"/>
              <a:sym typeface="GT America" panose="00000500000000000000" pitchFamily="2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GT America" panose="00000500000000000000" pitchFamily="2" charset="0"/>
              <a:ea typeface="+mn-ea"/>
              <a:cs typeface="+mn-cs"/>
              <a:sym typeface="GT America" panose="00000500000000000000" pitchFamily="2" charset="0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GT America" panose="00000500000000000000" pitchFamily="2" charset="0"/>
                <a:ea typeface="+mn-ea"/>
                <a:cs typeface="+mn-cs"/>
                <a:sym typeface="GT America" panose="00000500000000000000" pitchFamily="2" charset="0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  <a:lvl2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2pPr>
            <a:lvl3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3pPr>
            <a:lvl4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4pPr>
            <a:lvl5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78654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[BLACK and WHIT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C05DBB74-35E8-9B4C-BA80-D69D626FCB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4" name="Symbol zastępczy tekstu 14">
            <a:extLst>
              <a:ext uri="{FF2B5EF4-FFF2-40B4-BE49-F238E27FC236}">
                <a16:creationId xmlns:a16="http://schemas.microsoft.com/office/drawing/2014/main" id="{900A6B9B-40C4-010C-D0EC-F5AD7E8691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01948" y="2014100"/>
            <a:ext cx="3536822" cy="393955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endParaRPr lang="pl-PL"/>
          </a:p>
        </p:txBody>
      </p:sp>
      <p:sp>
        <p:nvSpPr>
          <p:cNvPr id="6" name="Symbol zastępczy tekstu 14">
            <a:extLst>
              <a:ext uri="{FF2B5EF4-FFF2-40B4-BE49-F238E27FC236}">
                <a16:creationId xmlns:a16="http://schemas.microsoft.com/office/drawing/2014/main" id="{D50378B3-4A21-56D5-433F-0FA88684030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69990" y="2014100"/>
            <a:ext cx="3536822" cy="393956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endParaRPr lang="pl-PL"/>
          </a:p>
        </p:txBody>
      </p:sp>
      <p:cxnSp>
        <p:nvCxnSpPr>
          <p:cNvPr id="10" name="Łącznik prosty 9">
            <a:extLst>
              <a:ext uri="{FF2B5EF4-FFF2-40B4-BE49-F238E27FC236}">
                <a16:creationId xmlns:a16="http://schemas.microsoft.com/office/drawing/2014/main" id="{36743FC0-DBAC-67BF-638A-506B532E9189}"/>
              </a:ext>
            </a:extLst>
          </p:cNvPr>
          <p:cNvCxnSpPr>
            <a:cxnSpLocks/>
          </p:cNvCxnSpPr>
          <p:nvPr userDrawn="1"/>
        </p:nvCxnSpPr>
        <p:spPr>
          <a:xfrm>
            <a:off x="808588" y="967919"/>
            <a:ext cx="1898510" cy="0"/>
          </a:xfrm>
          <a:prstGeom prst="line">
            <a:avLst/>
          </a:prstGeom>
          <a:ln w="165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ole tekstowe 1">
            <a:extLst>
              <a:ext uri="{FF2B5EF4-FFF2-40B4-BE49-F238E27FC236}">
                <a16:creationId xmlns:a16="http://schemas.microsoft.com/office/drawing/2014/main" id="{EB72DBE2-019D-F04E-34DB-879392A553CB}"/>
              </a:ext>
            </a:extLst>
          </p:cNvPr>
          <p:cNvSpPr txBox="1"/>
          <p:nvPr userDrawn="1"/>
        </p:nvSpPr>
        <p:spPr>
          <a:xfrm>
            <a:off x="727073" y="267883"/>
            <a:ext cx="2952750" cy="61954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l"/>
            <a:r>
              <a:rPr lang="pl-PL"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621365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Gobi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5800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T America" panose="00000500000000000000" pitchFamily="2" charset="0"/>
              <a:sym typeface="GT America" panose="00000500000000000000" pitchFamily="2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GT America" panose="00000500000000000000" pitchFamily="2" charset="0"/>
              <a:ea typeface="+mn-ea"/>
              <a:cs typeface="+mn-cs"/>
              <a:sym typeface="GT America" panose="00000500000000000000" pitchFamily="2" charset="0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GT America" panose="00000500000000000000" pitchFamily="2" charset="0"/>
                <a:ea typeface="+mn-ea"/>
                <a:cs typeface="+mn-cs"/>
                <a:sym typeface="GT America" panose="00000500000000000000" pitchFamily="2" charset="0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  <a:lvl2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2pPr>
            <a:lvl3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3pPr>
            <a:lvl4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4pPr>
            <a:lvl5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568861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Bajka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4075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rgbClr val="5A6A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T America" panose="00000500000000000000" pitchFamily="2" charset="0"/>
              <a:sym typeface="GT America" panose="00000500000000000000" pitchFamily="2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GT America" panose="00000500000000000000" pitchFamily="2" charset="0"/>
              <a:ea typeface="+mn-ea"/>
              <a:cs typeface="+mn-cs"/>
              <a:sym typeface="GT America" panose="00000500000000000000" pitchFamily="2" charset="0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GT America" panose="00000500000000000000" pitchFamily="2" charset="0"/>
                <a:ea typeface="+mn-ea"/>
                <a:cs typeface="+mn-cs"/>
                <a:sym typeface="GT America" panose="00000500000000000000" pitchFamily="2" charset="0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  <a:lvl2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2pPr>
            <a:lvl3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3pPr>
            <a:lvl4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4pPr>
            <a:lvl5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54379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 Dolomit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447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T America" panose="00000500000000000000" pitchFamily="2" charset="0"/>
              <a:sym typeface="GT America" panose="00000500000000000000" pitchFamily="2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GT America" panose="00000500000000000000" pitchFamily="2" charset="0"/>
              <a:ea typeface="+mn-ea"/>
              <a:cs typeface="+mn-cs"/>
              <a:sym typeface="GT America" panose="00000500000000000000" pitchFamily="2" charset="0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GT America" panose="00000500000000000000" pitchFamily="2" charset="0"/>
                <a:ea typeface="+mn-ea"/>
                <a:cs typeface="+mn-cs"/>
                <a:sym typeface="GT America" panose="00000500000000000000" pitchFamily="2" charset="0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  <a:lvl2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2pPr>
            <a:lvl3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3pPr>
            <a:lvl4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4pPr>
            <a:lvl5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467686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Donau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6638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T America" panose="00000500000000000000" pitchFamily="2" charset="0"/>
              <a:sym typeface="GT America" panose="00000500000000000000" pitchFamily="2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GT America" panose="00000500000000000000" pitchFamily="2" charset="0"/>
              <a:ea typeface="+mn-ea"/>
              <a:cs typeface="+mn-cs"/>
              <a:sym typeface="GT America" panose="00000500000000000000" pitchFamily="2" charset="0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GT America" panose="00000500000000000000" pitchFamily="2" charset="0"/>
                <a:ea typeface="+mn-ea"/>
                <a:cs typeface="+mn-cs"/>
                <a:sym typeface="GT America" panose="00000500000000000000" pitchFamily="2" charset="0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  <a:lvl2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2pPr>
            <a:lvl3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3pPr>
            <a:lvl4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4pPr>
            <a:lvl5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771166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Naha 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2077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rgbClr val="F29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T America" panose="00000500000000000000" pitchFamily="2" charset="0"/>
              <a:sym typeface="GT America" panose="00000500000000000000" pitchFamily="2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GT America" panose="00000500000000000000" pitchFamily="2" charset="0"/>
              <a:ea typeface="+mn-ea"/>
              <a:cs typeface="+mn-cs"/>
              <a:sym typeface="GT America" panose="00000500000000000000" pitchFamily="2" charset="0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GT America" panose="00000500000000000000" pitchFamily="2" charset="0"/>
                <a:ea typeface="+mn-ea"/>
                <a:cs typeface="+mn-cs"/>
                <a:sym typeface="GT America" panose="00000500000000000000" pitchFamily="2" charset="0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  <a:lvl2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2pPr>
            <a:lvl3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3pPr>
            <a:lvl4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4pPr>
            <a:lvl5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210248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Highland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454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T America" panose="00000500000000000000" pitchFamily="2" charset="0"/>
              <a:sym typeface="GT America" panose="00000500000000000000" pitchFamily="2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GT America" panose="00000500000000000000" pitchFamily="2" charset="0"/>
              <a:ea typeface="+mn-ea"/>
              <a:cs typeface="+mn-cs"/>
              <a:sym typeface="GT America" panose="00000500000000000000" pitchFamily="2" charset="0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GT America" panose="00000500000000000000" pitchFamily="2" charset="0"/>
                <a:ea typeface="+mn-ea"/>
                <a:cs typeface="+mn-cs"/>
                <a:sym typeface="GT America" panose="00000500000000000000" pitchFamily="2" charset="0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  <a:lvl2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2pPr>
            <a:lvl3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3pPr>
            <a:lvl4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4pPr>
            <a:lvl5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258238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fzeile + Fließtextkasten Danaki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287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 userDrawn="1"/>
        </p:nvSpPr>
        <p:spPr>
          <a:xfrm>
            <a:off x="-794" y="0"/>
            <a:ext cx="12193588" cy="764702"/>
          </a:xfrm>
          <a:prstGeom prst="rect">
            <a:avLst/>
          </a:prstGeom>
          <a:solidFill>
            <a:srgbClr val="FFF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GT America" panose="00000500000000000000" pitchFamily="2" charset="0"/>
              <a:sym typeface="GT America" panose="00000500000000000000" pitchFamily="2" charset="0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 rot="16200000">
            <a:off x="8631237" y="3297236"/>
            <a:ext cx="6857999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GT America" panose="00000500000000000000" pitchFamily="2" charset="0"/>
              <a:ea typeface="+mn-ea"/>
              <a:cs typeface="+mn-cs"/>
              <a:sym typeface="GT America" panose="00000500000000000000" pitchFamily="2" charset="0"/>
            </a:endParaRPr>
          </a:p>
        </p:txBody>
      </p:sp>
      <p:sp>
        <p:nvSpPr>
          <p:cNvPr id="21" name="Textfeld 20"/>
          <p:cNvSpPr txBox="1"/>
          <p:nvPr userDrawn="1"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GT America" panose="00000500000000000000" pitchFamily="2" charset="0"/>
                <a:ea typeface="+mn-ea"/>
                <a:cs typeface="+mn-cs"/>
                <a:sym typeface="GT America" panose="00000500000000000000" pitchFamily="2" charset="0"/>
              </a:rPr>
              <a:t>© Rödl &amp; Partner 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0" y="764704"/>
            <a:ext cx="1192847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"/>
          <p:cNvSpPr>
            <a:spLocks noGrp="1"/>
          </p:cNvSpPr>
          <p:nvPr>
            <p:ph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  <a:lvl2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2pPr>
            <a:lvl3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3pPr>
            <a:lvl4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4pPr>
            <a:lvl5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5pPr>
          </a:lstStyle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542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[PHOTO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C05DBB74-35E8-9B4C-BA80-D69D626FCB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sp>
        <p:nvSpPr>
          <p:cNvPr id="4" name="Symbol zastępczy tekstu 14">
            <a:extLst>
              <a:ext uri="{FF2B5EF4-FFF2-40B4-BE49-F238E27FC236}">
                <a16:creationId xmlns:a16="http://schemas.microsoft.com/office/drawing/2014/main" id="{29E35F54-1914-71F6-99AF-96C7F2364AE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7948" y="2014100"/>
            <a:ext cx="3536822" cy="393955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br>
              <a:rPr lang="pl-PL"/>
            </a:br>
            <a:r>
              <a:rPr lang="pl-PL" err="1"/>
              <a:t>Chapter</a:t>
            </a:r>
            <a:r>
              <a:rPr lang="pl-PL"/>
              <a:t> </a:t>
            </a:r>
            <a:r>
              <a:rPr lang="pl-PL" err="1"/>
              <a:t>title</a:t>
            </a:r>
            <a:endParaRPr lang="pl-PL"/>
          </a:p>
        </p:txBody>
      </p:sp>
      <p:sp>
        <p:nvSpPr>
          <p:cNvPr id="14" name="Symbol zastępczy obrazu 38">
            <a:extLst>
              <a:ext uri="{FF2B5EF4-FFF2-40B4-BE49-F238E27FC236}">
                <a16:creationId xmlns:a16="http://schemas.microsoft.com/office/drawing/2014/main" id="{FA533449-7C7D-8E57-0387-4B2B9BB389C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4763"/>
            <a:ext cx="6095998" cy="6862763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pl-PL" err="1"/>
              <a:t>picture</a:t>
            </a:r>
            <a:endParaRPr lang="pl-PL"/>
          </a:p>
        </p:txBody>
      </p:sp>
      <p:cxnSp>
        <p:nvCxnSpPr>
          <p:cNvPr id="16" name="Łącznik prosty 15">
            <a:extLst>
              <a:ext uri="{FF2B5EF4-FFF2-40B4-BE49-F238E27FC236}">
                <a16:creationId xmlns:a16="http://schemas.microsoft.com/office/drawing/2014/main" id="{5E2753E4-C84F-B7C1-D8C7-602CD49CD737}"/>
              </a:ext>
            </a:extLst>
          </p:cNvPr>
          <p:cNvCxnSpPr>
            <a:cxnSpLocks/>
          </p:cNvCxnSpPr>
          <p:nvPr userDrawn="1"/>
        </p:nvCxnSpPr>
        <p:spPr>
          <a:xfrm>
            <a:off x="9957398" y="967919"/>
            <a:ext cx="1898510" cy="0"/>
          </a:xfrm>
          <a:prstGeom prst="line">
            <a:avLst/>
          </a:prstGeom>
          <a:ln w="165100">
            <a:solidFill>
              <a:srgbClr val="FF41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ole tekstowe 17">
            <a:extLst>
              <a:ext uri="{FF2B5EF4-FFF2-40B4-BE49-F238E27FC236}">
                <a16:creationId xmlns:a16="http://schemas.microsoft.com/office/drawing/2014/main" id="{DE2D172D-014E-1521-AD91-A84B3D532F0F}"/>
              </a:ext>
            </a:extLst>
          </p:cNvPr>
          <p:cNvSpPr txBox="1"/>
          <p:nvPr userDrawn="1"/>
        </p:nvSpPr>
        <p:spPr>
          <a:xfrm>
            <a:off x="9011259" y="267883"/>
            <a:ext cx="2952750" cy="61954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r"/>
            <a:r>
              <a:rPr lang="pl-PL" sz="3000" b="0" i="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27985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v1 [BLU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z zaokrąglonym rogiem 1">
            <a:extLst>
              <a:ext uri="{FF2B5EF4-FFF2-40B4-BE49-F238E27FC236}">
                <a16:creationId xmlns:a16="http://schemas.microsoft.com/office/drawing/2014/main" id="{97A23517-7388-C940-A4B7-6260A1FBB7E2}"/>
              </a:ext>
            </a:extLst>
          </p:cNvPr>
          <p:cNvSpPr/>
          <p:nvPr userDrawn="1"/>
        </p:nvSpPr>
        <p:spPr>
          <a:xfrm rot="5400000">
            <a:off x="4948642" y="-385356"/>
            <a:ext cx="6858001" cy="7628717"/>
          </a:xfrm>
          <a:prstGeom prst="round1Rect">
            <a:avLst>
              <a:gd name="adj" fmla="val 0"/>
            </a:avLst>
          </a:prstGeom>
          <a:solidFill>
            <a:schemeClr val="accent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8B4B2BC9-F425-33EA-C6E3-D84125C68C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cxnSp>
        <p:nvCxnSpPr>
          <p:cNvPr id="5" name="Łącznik prosty 4">
            <a:extLst>
              <a:ext uri="{FF2B5EF4-FFF2-40B4-BE49-F238E27FC236}">
                <a16:creationId xmlns:a16="http://schemas.microsoft.com/office/drawing/2014/main" id="{1D262507-4C7C-A213-4D78-352BB05A539F}"/>
              </a:ext>
            </a:extLst>
          </p:cNvPr>
          <p:cNvCxnSpPr>
            <a:cxnSpLocks/>
          </p:cNvCxnSpPr>
          <p:nvPr userDrawn="1"/>
        </p:nvCxnSpPr>
        <p:spPr>
          <a:xfrm>
            <a:off x="4249696" y="3426649"/>
            <a:ext cx="1898510" cy="0"/>
          </a:xfrm>
          <a:prstGeom prst="line">
            <a:avLst/>
          </a:prstGeom>
          <a:ln w="165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ytuł 13">
            <a:extLst>
              <a:ext uri="{FF2B5EF4-FFF2-40B4-BE49-F238E27FC236}">
                <a16:creationId xmlns:a16="http://schemas.microsoft.com/office/drawing/2014/main" id="{48D950BC-B305-8BC9-BA38-C0610AE53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1373" y="2212457"/>
            <a:ext cx="4157222" cy="2503796"/>
          </a:xfrm>
          <a:prstGeom prst="rect">
            <a:avLst/>
          </a:prstGeom>
        </p:spPr>
        <p:txBody>
          <a:bodyPr anchor="ctr" anchorCtr="0"/>
          <a:lstStyle>
            <a:lvl1pPr algn="l">
              <a:defRPr sz="4200" b="0" i="0" cap="none" baseline="0">
                <a:solidFill>
                  <a:schemeClr val="bg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an</a:t>
            </a:r>
            <a:br>
              <a:rPr lang="pl-PL"/>
            </a:br>
            <a:r>
              <a:rPr lang="pl-PL" err="1"/>
              <a:t>Optional</a:t>
            </a:r>
            <a:br>
              <a:rPr lang="pl-PL"/>
            </a:br>
            <a:r>
              <a:rPr lang="pl-PL" err="1"/>
              <a:t>Titl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58239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1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1.emf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ags" Target="../tags/tag14.xml"/><Relationship Id="rId5" Type="http://schemas.openxmlformats.org/officeDocument/2006/relationships/slideLayout" Target="../slideLayouts/slideLayout64.xml"/><Relationship Id="rId10" Type="http://schemas.openxmlformats.org/officeDocument/2006/relationships/tags" Target="../tags/tag13.xml"/><Relationship Id="rId4" Type="http://schemas.openxmlformats.org/officeDocument/2006/relationships/slideLayout" Target="../slideLayouts/slideLayout63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image" Target="../media/image11.emf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tags" Target="../tags/tag24.xml"/><Relationship Id="rId5" Type="http://schemas.openxmlformats.org/officeDocument/2006/relationships/slideLayout" Target="../slideLayouts/slideLayout7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A33D3A36-BF4F-0866-20CF-CE2226B40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4DC2C24C-C733-5DC5-3AAF-31A4F213F5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396471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13" r:id="rId2"/>
    <p:sldLayoutId id="2147483651" r:id="rId3"/>
    <p:sldLayoutId id="2147483705" r:id="rId4"/>
    <p:sldLayoutId id="2147483730" r:id="rId5"/>
    <p:sldLayoutId id="2147483650" r:id="rId6"/>
    <p:sldLayoutId id="2147483712" r:id="rId7"/>
    <p:sldLayoutId id="2147483722" r:id="rId8"/>
    <p:sldLayoutId id="2147483683" r:id="rId9"/>
    <p:sldLayoutId id="2147483723" r:id="rId10"/>
    <p:sldLayoutId id="2147483684" r:id="rId11"/>
    <p:sldLayoutId id="2147483724" r:id="rId12"/>
    <p:sldLayoutId id="2147483726" r:id="rId13"/>
    <p:sldLayoutId id="2147483656" r:id="rId14"/>
    <p:sldLayoutId id="2147483699" r:id="rId15"/>
    <p:sldLayoutId id="2147483682" r:id="rId16"/>
    <p:sldLayoutId id="2147483653" r:id="rId17"/>
    <p:sldLayoutId id="2147483669" r:id="rId18"/>
    <p:sldLayoutId id="2147483670" r:id="rId19"/>
    <p:sldLayoutId id="2147483658" r:id="rId20"/>
    <p:sldLayoutId id="2147483659" r:id="rId21"/>
    <p:sldLayoutId id="2147483661" r:id="rId22"/>
    <p:sldLayoutId id="2147483694" r:id="rId23"/>
    <p:sldLayoutId id="2147483667" r:id="rId24"/>
    <p:sldLayoutId id="2147483668" r:id="rId25"/>
    <p:sldLayoutId id="2147483708" r:id="rId26"/>
    <p:sldLayoutId id="2147483652" r:id="rId27"/>
    <p:sldLayoutId id="2147483654" r:id="rId28"/>
    <p:sldLayoutId id="2147483663" r:id="rId29"/>
    <p:sldLayoutId id="2147483665" r:id="rId30"/>
    <p:sldLayoutId id="2147483662" r:id="rId31"/>
    <p:sldLayoutId id="2147483664" r:id="rId32"/>
    <p:sldLayoutId id="2147483700" r:id="rId33"/>
    <p:sldLayoutId id="2147483672" r:id="rId34"/>
    <p:sldLayoutId id="2147483693" r:id="rId35"/>
    <p:sldLayoutId id="2147483691" r:id="rId36"/>
    <p:sldLayoutId id="2147483689" r:id="rId37"/>
    <p:sldLayoutId id="2147483690" r:id="rId38"/>
    <p:sldLayoutId id="2147483692" r:id="rId39"/>
    <p:sldLayoutId id="2147483714" r:id="rId40"/>
    <p:sldLayoutId id="2147483728" r:id="rId41"/>
    <p:sldLayoutId id="2147483729" r:id="rId42"/>
    <p:sldLayoutId id="2147483727" r:id="rId43"/>
    <p:sldLayoutId id="2147483685" r:id="rId44"/>
    <p:sldLayoutId id="2147483719" r:id="rId45"/>
    <p:sldLayoutId id="2147483716" r:id="rId46"/>
    <p:sldLayoutId id="2147483717" r:id="rId47"/>
    <p:sldLayoutId id="2147483687" r:id="rId48"/>
    <p:sldLayoutId id="2147483721" r:id="rId49"/>
    <p:sldLayoutId id="2147483731" r:id="rId5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0" i="0" kern="1200">
          <a:solidFill>
            <a:schemeClr val="tx1"/>
          </a:solidFill>
          <a:latin typeface="Noto Sans Light" panose="020B0402040504020204" pitchFamily="34" charset="0"/>
          <a:ea typeface="Noto Sans Light" panose="020B0402040504020204" pitchFamily="34" charset="0"/>
          <a:cs typeface="Noto Sans Light" panose="020B0402040504020204" pitchFamily="34" charset="0"/>
        </a:defRPr>
      </a:lvl1pPr>
    </p:titleStyle>
    <p:bodyStyle>
      <a:lvl1pPr marL="285750" indent="-28575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Tx/>
        <a:buBlip>
          <a:blip r:embed="rId52"/>
        </a:buBlip>
        <a:defRPr sz="1800" b="0" i="0" kern="120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1pPr>
      <a:lvl2pPr marL="539750" indent="-227013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2pPr>
      <a:lvl3pPr marL="852488" indent="-312738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Clr>
          <a:schemeClr val="accent3"/>
        </a:buClr>
        <a:buFont typeface="Czcionka systemowa (Regular)"/>
        <a:buChar char="—"/>
        <a:tabLst/>
        <a:defRPr sz="1400" b="0" i="0" kern="120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3pPr>
      <a:lvl4pPr marL="852488" indent="-312738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Clr>
          <a:schemeClr val="accent3"/>
        </a:buClr>
        <a:buFont typeface="Czcionka systemowa (Regular)"/>
        <a:buChar char="—"/>
        <a:tabLst/>
        <a:defRPr sz="1400" b="0" i="0" kern="120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4pPr>
      <a:lvl5pPr marL="852488" indent="-312738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Clr>
          <a:schemeClr val="accent3"/>
        </a:buClr>
        <a:buFont typeface="Czcionka systemowa (Regular)"/>
        <a:buChar char="—"/>
        <a:tabLst/>
        <a:defRPr sz="1400" b="0" i="0" kern="120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5pPr>
      <a:lvl6pPr marL="25146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Tx/>
        <a:buBlip>
          <a:blip r:embed="rId52"/>
        </a:buBlip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27944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Zwei Spalten</a:t>
            </a:r>
          </a:p>
        </p:txBody>
      </p:sp>
      <p:grpSp>
        <p:nvGrpSpPr>
          <p:cNvPr id="120" name="Gruppieren 119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mit Pfeil 94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mit Pfeil 95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mit Pfeil 96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mit Pfeil 97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mit Pfeil 10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mit Pfeil 103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Vollflächig)</a:t>
            </a:r>
          </a:p>
        </p:txBody>
      </p:sp>
      <p:sp>
        <p:nvSpPr>
          <p:cNvPr id="41" name="object 4">
            <a:extLst>
              <a:ext uri="{FF2B5EF4-FFF2-40B4-BE49-F238E27FC236}">
                <a16:creationId xmlns:a16="http://schemas.microsoft.com/office/drawing/2014/main" id="{F1407FCD-A98D-8D4C-BAEA-A83B72042659}"/>
              </a:ext>
            </a:extLst>
          </p:cNvPr>
          <p:cNvSpPr/>
          <p:nvPr/>
        </p:nvSpPr>
        <p:spPr>
          <a:xfrm>
            <a:off x="0" y="899999"/>
            <a:ext cx="12192635" cy="0"/>
          </a:xfrm>
          <a:custGeom>
            <a:avLst/>
            <a:gdLst/>
            <a:ahLst/>
            <a:cxnLst/>
            <a:rect l="l" t="t" r="r" b="b"/>
            <a:pathLst>
              <a:path w="12192635">
                <a:moveTo>
                  <a:pt x="0" y="0"/>
                </a:moveTo>
                <a:lnTo>
                  <a:pt x="12192113" y="0"/>
                </a:lnTo>
              </a:path>
            </a:pathLst>
          </a:custGeom>
          <a:ln w="285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706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09772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4" imgH="345" progId="TCLayout.ActiveDocument.1">
                  <p:embed/>
                </p:oleObj>
              </mc:Choice>
              <mc:Fallback>
                <p:oleObj name="think-cell Folie" r:id="rId12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 rot="16200000">
            <a:off x="8627637" y="3303909"/>
            <a:ext cx="6865200" cy="263527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feld 8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648"/>
            <a:ext cx="11447923" cy="39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-974191" y="960180"/>
            <a:ext cx="69683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ier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Drei</a:t>
            </a:r>
            <a:r>
              <a:rPr lang="de-DE" sz="120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Zwei Spalten</a:t>
            </a:r>
          </a:p>
        </p:txBody>
      </p:sp>
      <p:cxnSp>
        <p:nvCxnSpPr>
          <p:cNvPr id="38" name="Gerade Verbindung 37"/>
          <p:cNvCxnSpPr/>
          <p:nvPr/>
        </p:nvCxnSpPr>
        <p:spPr>
          <a:xfrm>
            <a:off x="11712624" y="6993412"/>
            <a:ext cx="0" cy="144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/>
          <p:cNvGrpSpPr/>
          <p:nvPr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mit Pfeil 49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mit Pfeil 50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mit Pfeil 51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mit Pfeil 52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204708" y="826746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Textfeld 63"/>
          <p:cNvSpPr txBox="1"/>
          <p:nvPr/>
        </p:nvSpPr>
        <p:spPr>
          <a:xfrm>
            <a:off x="-1791723" y="799523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171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cap="all" spc="-7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Tx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79553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4" imgH="345" progId="TCLayout.ActiveDocument.1">
                  <p:embed/>
                </p:oleObj>
              </mc:Choice>
              <mc:Fallback>
                <p:oleObj name="think-cell Folie" r:id="rId12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/>
          <p:cNvSpPr txBox="1"/>
          <p:nvPr/>
        </p:nvSpPr>
        <p:spPr>
          <a:xfrm rot="16200000">
            <a:off x="8627636" y="3293636"/>
            <a:ext cx="6865200" cy="263527"/>
          </a:xfrm>
          <a:prstGeom prst="rect">
            <a:avLst/>
          </a:prstGeom>
          <a:solidFill>
            <a:srgbClr val="BDBCBC"/>
          </a:solidFill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endParaRPr lang="de-DE" sz="800" kern="1200" spc="-30" baseline="0" dirty="0">
              <a:solidFill>
                <a:schemeClr val="accent5"/>
              </a:solidFill>
              <a:latin typeface="GT America" panose="00000500000000000000" pitchFamily="2" charset="0"/>
              <a:ea typeface="+mn-ea"/>
              <a:cs typeface="+mn-cs"/>
              <a:sym typeface="GT America" panose="00000500000000000000" pitchFamily="2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3525" y="1052512"/>
            <a:ext cx="1144800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Formatvorlagen des Textmasters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-974192" y="960180"/>
            <a:ext cx="696840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GT America" panose="00000500000000000000" pitchFamily="2" charset="0"/>
                <a:sym typeface="GT America" panose="00000500000000000000" pitchFamily="2" charset="0"/>
              </a:rPr>
              <a:t>Textbox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-1014869" y="-381635"/>
            <a:ext cx="990189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GT America" panose="00000500000000000000" pitchFamily="2" charset="0"/>
                <a:sym typeface="GT America" panose="00000500000000000000" pitchFamily="2" charset="0"/>
              </a:rPr>
              <a:t>Vier</a:t>
            </a:r>
            <a:r>
              <a:rPr lang="de-DE" sz="1200" baseline="0" noProof="0" dirty="0">
                <a:latin typeface="GT America" panose="00000500000000000000" pitchFamily="2" charset="0"/>
                <a:sym typeface="GT America" panose="00000500000000000000" pitchFamily="2" charset="0"/>
              </a:rPr>
              <a:t> </a:t>
            </a:r>
            <a:r>
              <a:rPr lang="de-DE" sz="1200" noProof="0" dirty="0">
                <a:latin typeface="GT America" panose="00000500000000000000" pitchFamily="2" charset="0"/>
                <a:sym typeface="GT America" panose="00000500000000000000" pitchFamily="2" charset="0"/>
              </a:rPr>
              <a:t>Spalten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-1032502" y="-618555"/>
            <a:ext cx="1007822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GT America" panose="00000500000000000000" pitchFamily="2" charset="0"/>
                <a:sym typeface="GT America" panose="00000500000000000000" pitchFamily="2" charset="0"/>
              </a:rPr>
              <a:t>Drei</a:t>
            </a:r>
            <a:r>
              <a:rPr lang="de-DE" sz="1200" baseline="0" noProof="0" dirty="0">
                <a:latin typeface="GT America" panose="00000500000000000000" pitchFamily="2" charset="0"/>
                <a:sym typeface="GT America" panose="00000500000000000000" pitchFamily="2" charset="0"/>
              </a:rPr>
              <a:t> </a:t>
            </a:r>
            <a:r>
              <a:rPr lang="de-DE" sz="1200" noProof="0" dirty="0">
                <a:latin typeface="GT America" panose="00000500000000000000" pitchFamily="2" charset="0"/>
                <a:sym typeface="GT America" panose="00000500000000000000" pitchFamily="2" charset="0"/>
              </a:rPr>
              <a:t>Spalten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-1067768" y="-855476"/>
            <a:ext cx="1043088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latin typeface="GT America" panose="00000500000000000000" pitchFamily="2" charset="0"/>
                <a:sym typeface="GT America" panose="00000500000000000000" pitchFamily="2" charset="0"/>
              </a:rPr>
              <a:t>Zwei Spalten</a:t>
            </a:r>
          </a:p>
        </p:txBody>
      </p:sp>
      <p:sp>
        <p:nvSpPr>
          <p:cNvPr id="36" name="Textfeld 35"/>
          <p:cNvSpPr txBox="1"/>
          <p:nvPr/>
        </p:nvSpPr>
        <p:spPr>
          <a:xfrm rot="16200000">
            <a:off x="11605877" y="322597"/>
            <a:ext cx="908719" cy="263527"/>
          </a:xfrm>
          <a:prstGeom prst="rect">
            <a:avLst/>
          </a:prstGeom>
          <a:noFill/>
        </p:spPr>
        <p:txBody>
          <a:bodyPr wrap="none" lIns="0" tIns="0" rIns="108000" bIns="0" rtlCol="0" anchor="ctr" anchorCtr="1">
            <a:noAutofit/>
          </a:bodyPr>
          <a:lstStyle/>
          <a:p>
            <a:pPr marL="0" algn="r" defTabSz="914400" rtl="0" eaLnBrk="1" latinLnBrk="0" hangingPunct="1"/>
            <a:r>
              <a:rPr lang="de-DE" sz="800" kern="1200" spc="-30" baseline="0" dirty="0">
                <a:solidFill>
                  <a:schemeClr val="accent5"/>
                </a:solidFill>
                <a:latin typeface="GT America" panose="00000500000000000000" pitchFamily="2" charset="0"/>
                <a:ea typeface="+mn-ea"/>
                <a:cs typeface="+mn-cs"/>
                <a:sym typeface="GT America" panose="00000500000000000000" pitchFamily="2" charset="0"/>
              </a:rPr>
              <a:t>© Rödl &amp; Partner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3525" y="260350"/>
            <a:ext cx="11448000" cy="3952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3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928648" y="6453187"/>
            <a:ext cx="263350" cy="404813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accent5"/>
                </a:solidFill>
                <a:latin typeface="GT America" panose="00000500000000000000" pitchFamily="2" charset="0"/>
                <a:sym typeface="GT America" panose="00000500000000000000" pitchFamily="2" charset="0"/>
              </a:defRPr>
            </a:lvl1pPr>
          </a:lstStyle>
          <a:p>
            <a:fld id="{4CFEB0D3-1EB3-4F08-8062-95FFB9749870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4" name="Gruppieren 33"/>
          <p:cNvGrpSpPr/>
          <p:nvPr userDrawn="1"/>
        </p:nvGrpSpPr>
        <p:grpSpPr>
          <a:xfrm>
            <a:off x="-276708" y="-835143"/>
            <a:ext cx="12205181" cy="7972555"/>
            <a:chOff x="-276708" y="-835143"/>
            <a:chExt cx="12205181" cy="7972555"/>
          </a:xfrm>
        </p:grpSpPr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-204708" y="980735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5400000" flipV="1">
              <a:off x="-204708" y="6381336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>
            <a:xfrm>
              <a:off x="259147" y="6993412"/>
              <a:ext cx="0" cy="144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mit Pfeil 40"/>
            <p:cNvCxnSpPr/>
            <p:nvPr userDrawn="1"/>
          </p:nvCxnSpPr>
          <p:spPr>
            <a:xfrm>
              <a:off x="263525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 userDrawn="1"/>
          </p:nvCxnSpPr>
          <p:spPr>
            <a:xfrm>
              <a:off x="4259684" y="-526222"/>
              <a:ext cx="3457154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 userDrawn="1"/>
          </p:nvCxnSpPr>
          <p:spPr>
            <a:xfrm>
              <a:off x="8220124" y="-526222"/>
              <a:ext cx="3492500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mit Pfeil 43"/>
            <p:cNvCxnSpPr/>
            <p:nvPr userDrawn="1"/>
          </p:nvCxnSpPr>
          <p:spPr>
            <a:xfrm>
              <a:off x="263525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mit Pfeil 44"/>
            <p:cNvCxnSpPr/>
            <p:nvPr userDrawn="1"/>
          </p:nvCxnSpPr>
          <p:spPr>
            <a:xfrm>
              <a:off x="3251200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mit Pfeil 45"/>
            <p:cNvCxnSpPr/>
            <p:nvPr userDrawn="1"/>
          </p:nvCxnSpPr>
          <p:spPr>
            <a:xfrm>
              <a:off x="6240462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mit Pfeil 46"/>
            <p:cNvCxnSpPr/>
            <p:nvPr userDrawn="1"/>
          </p:nvCxnSpPr>
          <p:spPr>
            <a:xfrm>
              <a:off x="9228186" y="-289302"/>
              <a:ext cx="2484438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mit Pfeil 47"/>
            <p:cNvCxnSpPr/>
            <p:nvPr userDrawn="1"/>
          </p:nvCxnSpPr>
          <p:spPr>
            <a:xfrm>
              <a:off x="263525" y="-763143"/>
              <a:ext cx="5472113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mit Pfeil 48"/>
            <p:cNvCxnSpPr/>
            <p:nvPr userDrawn="1"/>
          </p:nvCxnSpPr>
          <p:spPr>
            <a:xfrm>
              <a:off x="6240463" y="-763143"/>
              <a:ext cx="5472161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2999272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>
              <a:off x="5987988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8976320" y="-36130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796820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>
              <a:off x="4007768" y="-598222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5987988" y="-835143"/>
              <a:ext cx="0" cy="14400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rot="5400000" flipV="1">
              <a:off x="-204708" y="679110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rot="5400000" flipV="1">
              <a:off x="-204708" y="6785999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rot="10800000" flipV="1">
              <a:off x="11928473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rot="10800000" flipV="1">
              <a:off x="0" y="-361302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Textfeld 59"/>
          <p:cNvSpPr txBox="1"/>
          <p:nvPr userDrawn="1"/>
        </p:nvSpPr>
        <p:spPr>
          <a:xfrm>
            <a:off x="-1791723" y="656648"/>
            <a:ext cx="1514371" cy="184666"/>
          </a:xfrm>
          <a:prstGeom prst="rect">
            <a:avLst/>
          </a:prstGeom>
          <a:noFill/>
        </p:spPr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200" noProof="0" dirty="0">
                <a:solidFill>
                  <a:srgbClr val="FF0000"/>
                </a:solidFill>
                <a:latin typeface="GT America" panose="00000500000000000000" pitchFamily="2" charset="0"/>
                <a:sym typeface="GT America" panose="00000500000000000000" pitchFamily="2" charset="0"/>
              </a:rPr>
              <a:t>Tabelle</a:t>
            </a:r>
            <a:r>
              <a:rPr lang="de-DE" sz="1200" baseline="0" noProof="0" dirty="0">
                <a:solidFill>
                  <a:srgbClr val="FF0000"/>
                </a:solidFill>
                <a:latin typeface="GT America" panose="00000500000000000000" pitchFamily="2" charset="0"/>
                <a:sym typeface="GT America" panose="00000500000000000000" pitchFamily="2" charset="0"/>
              </a:rPr>
              <a:t> </a:t>
            </a:r>
            <a:r>
              <a:rPr lang="de-DE" sz="1200" noProof="0" dirty="0">
                <a:solidFill>
                  <a:srgbClr val="FF0000"/>
                </a:solidFill>
                <a:latin typeface="GT America" panose="00000500000000000000" pitchFamily="2" charset="0"/>
                <a:sym typeface="GT America" panose="00000500000000000000" pitchFamily="2" charset="0"/>
              </a:rPr>
              <a:t>(Vollflächig)</a:t>
            </a:r>
          </a:p>
        </p:txBody>
      </p:sp>
    </p:spTree>
    <p:extLst>
      <p:ext uri="{BB962C8B-B14F-4D97-AF65-F5344CB8AC3E}">
        <p14:creationId xmlns:p14="http://schemas.microsoft.com/office/powerpoint/2010/main" val="2463181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800" kern="1200" cap="all" spc="-70" baseline="0" smtClean="0">
          <a:solidFill>
            <a:schemeClr val="tx1"/>
          </a:solidFill>
          <a:latin typeface="GT America" panose="00000500000000000000" pitchFamily="2" charset="0"/>
          <a:ea typeface="+mj-ea"/>
          <a:cs typeface="+mj-cs"/>
          <a:sym typeface="GT America" panose="00000500000000000000" pitchFamily="2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GT America" panose="00000500000000000000" pitchFamily="2" charset="0"/>
          <a:ea typeface="+mn-ea"/>
          <a:cs typeface="+mn-cs"/>
          <a:sym typeface="GT America" panose="00000500000000000000" pitchFamily="2" charset="0"/>
        </a:defRPr>
      </a:lvl1pPr>
      <a:lvl2pPr marL="216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GT America" panose="00000500000000000000" pitchFamily="2" charset="0"/>
          <a:ea typeface="+mn-ea"/>
          <a:cs typeface="+mn-cs"/>
          <a:sym typeface="GT America" panose="00000500000000000000" pitchFamily="2" charset="0"/>
        </a:defRPr>
      </a:lvl2pPr>
      <a:lvl3pPr marL="432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GT America" panose="00000500000000000000" pitchFamily="2" charset="0"/>
          <a:ea typeface="+mn-ea"/>
          <a:cs typeface="+mn-cs"/>
          <a:sym typeface="GT America" panose="00000500000000000000" pitchFamily="2" charset="0"/>
        </a:defRPr>
      </a:lvl3pPr>
      <a:lvl4pPr marL="648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GT America" panose="00000500000000000000" pitchFamily="2" charset="0"/>
          <a:ea typeface="+mn-ea"/>
          <a:cs typeface="+mn-cs"/>
          <a:sym typeface="GT America" panose="00000500000000000000" pitchFamily="2" charset="0"/>
        </a:defRPr>
      </a:lvl4pPr>
      <a:lvl5pPr marL="864000" indent="-216000" algn="l" defTabSz="914400" rtl="0" eaLnBrk="1" latinLnBrk="0" hangingPunct="1">
        <a:lnSpc>
          <a:spcPct val="100000"/>
        </a:lnSpc>
        <a:spcBef>
          <a:spcPts val="500"/>
        </a:spcBef>
        <a:buFont typeface="Lucida Grande"/>
        <a:buChar char="–"/>
        <a:defRPr sz="1800" kern="1200">
          <a:solidFill>
            <a:schemeClr val="tx1"/>
          </a:solidFill>
          <a:latin typeface="GT America" panose="00000500000000000000" pitchFamily="2" charset="0"/>
          <a:ea typeface="+mn-ea"/>
          <a:cs typeface="+mn-cs"/>
          <a:sym typeface="GT America" panose="000005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.emf"/><Relationship Id="rId4" Type="http://schemas.openxmlformats.org/officeDocument/2006/relationships/image" Target="../media/image46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8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26" Type="http://schemas.openxmlformats.org/officeDocument/2006/relationships/image" Target="../media/image37.png"/><Relationship Id="rId3" Type="http://schemas.openxmlformats.org/officeDocument/2006/relationships/image" Target="../media/image1.png"/><Relationship Id="rId21" Type="http://schemas.openxmlformats.org/officeDocument/2006/relationships/image" Target="../media/image32.sv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5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.svg"/><Relationship Id="rId11" Type="http://schemas.openxmlformats.org/officeDocument/2006/relationships/image" Target="../media/image22.svg"/><Relationship Id="rId24" Type="http://schemas.openxmlformats.org/officeDocument/2006/relationships/image" Target="../media/image35.png"/><Relationship Id="rId5" Type="http://schemas.openxmlformats.org/officeDocument/2006/relationships/image" Target="../media/image16.png"/><Relationship Id="rId15" Type="http://schemas.openxmlformats.org/officeDocument/2006/relationships/image" Target="../media/image26.svg"/><Relationship Id="rId23" Type="http://schemas.openxmlformats.org/officeDocument/2006/relationships/image" Target="../media/image34.svg"/><Relationship Id="rId10" Type="http://schemas.openxmlformats.org/officeDocument/2006/relationships/image" Target="../media/image21.png"/><Relationship Id="rId19" Type="http://schemas.openxmlformats.org/officeDocument/2006/relationships/image" Target="../media/image30.sv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Relationship Id="rId22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A34C9322-E31E-4053-849C-84BBD688B2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725" y="3708000"/>
            <a:ext cx="6106616" cy="3168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83959A9-8F80-AE16-5690-DF0ACACDB2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3708000"/>
            <a:ext cx="6106615" cy="3168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A8F34BC-1795-458F-A37D-997AEA5ADC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9922" y="556979"/>
            <a:ext cx="1807224" cy="409396"/>
          </a:xfrm>
          <a:prstGeom prst="rect">
            <a:avLst/>
          </a:prstGeom>
        </p:spPr>
      </p:pic>
      <p:sp>
        <p:nvSpPr>
          <p:cNvPr id="6" name="Untertitel 4">
            <a:extLst>
              <a:ext uri="{FF2B5EF4-FFF2-40B4-BE49-F238E27FC236}">
                <a16:creationId xmlns:a16="http://schemas.microsoft.com/office/drawing/2014/main" id="{30D726AE-913F-4DBA-AC66-87C6DBB39392}"/>
              </a:ext>
            </a:extLst>
          </p:cNvPr>
          <p:cNvSpPr txBox="1">
            <a:spLocks/>
          </p:cNvSpPr>
          <p:nvPr/>
        </p:nvSpPr>
        <p:spPr>
          <a:xfrm>
            <a:off x="1391258" y="2920481"/>
            <a:ext cx="9144000" cy="50851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e-DE" sz="1800" b="1" dirty="0"/>
              <a:t>Deutscher Nahverkehrstag, 18.04.2024</a:t>
            </a:r>
            <a:endParaRPr lang="de-DE" sz="1800" dirty="0"/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C80D119B-97B3-463F-94A0-48C5903458A6}"/>
              </a:ext>
            </a:extLst>
          </p:cNvPr>
          <p:cNvSpPr txBox="1">
            <a:spLocks/>
          </p:cNvSpPr>
          <p:nvPr/>
        </p:nvSpPr>
        <p:spPr>
          <a:xfrm>
            <a:off x="1522891" y="1628593"/>
            <a:ext cx="9144000" cy="8645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de-DE" sz="2800" dirty="0"/>
              <a:t>Mobilstationen: Warum? Wie viele? Wo genau?</a:t>
            </a:r>
          </a:p>
          <a:p>
            <a:pPr algn="ctr">
              <a:lnSpc>
                <a:spcPct val="100000"/>
              </a:lnSpc>
              <a:spcBef>
                <a:spcPts val="1000"/>
              </a:spcBef>
            </a:pPr>
            <a:r>
              <a:rPr lang="de-DE" sz="2400" i="1" dirty="0"/>
              <a:t>am Beispiel der Stadt Münster (Westfalen)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428B094-DE38-FA6D-1DF3-F320DE4C1349}"/>
              </a:ext>
            </a:extLst>
          </p:cNvPr>
          <p:cNvSpPr txBox="1"/>
          <p:nvPr/>
        </p:nvSpPr>
        <p:spPr>
          <a:xfrm rot="16200000">
            <a:off x="-384213" y="6213519"/>
            <a:ext cx="99546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de-DE" sz="1000" dirty="0">
                <a:solidFill>
                  <a:schemeClr val="bg1"/>
                </a:solidFill>
              </a:rPr>
              <a:t>© Stadt Münster</a:t>
            </a:r>
          </a:p>
        </p:txBody>
      </p:sp>
    </p:spTree>
    <p:extLst>
      <p:ext uri="{BB962C8B-B14F-4D97-AF65-F5344CB8AC3E}">
        <p14:creationId xmlns:p14="http://schemas.microsoft.com/office/powerpoint/2010/main" val="41980609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CC8AC78F-3E56-1C0E-242D-BF49B9F113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3805" y="1537183"/>
            <a:ext cx="4836383" cy="4949411"/>
          </a:xfrm>
          <a:prstGeom prst="rect">
            <a:avLst/>
          </a:prstGeom>
        </p:spPr>
      </p:pic>
      <p:sp>
        <p:nvSpPr>
          <p:cNvPr id="24" name="Symbol zastępczy tekstu 23">
            <a:extLst>
              <a:ext uri="{FF2B5EF4-FFF2-40B4-BE49-F238E27FC236}">
                <a16:creationId xmlns:a16="http://schemas.microsoft.com/office/drawing/2014/main" id="{E7944D8E-C5CF-6AFA-ECB6-DA7B722DF5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7074" y="1349766"/>
            <a:ext cx="2890770" cy="374835"/>
          </a:xfrm>
        </p:spPr>
        <p:txBody>
          <a:bodyPr>
            <a:noAutofit/>
          </a:bodyPr>
          <a:lstStyle/>
          <a:p>
            <a:r>
              <a:rPr lang="de-DE" dirty="0"/>
              <a:t>Nutzwertanalyse </a:t>
            </a:r>
            <a:br>
              <a:rPr lang="de-DE" dirty="0"/>
            </a:br>
            <a:r>
              <a:rPr lang="de-DE" dirty="0"/>
              <a:t>der ÖPNV-Haltestellen</a:t>
            </a:r>
            <a:endParaRPr lang="pl-PL" dirty="0"/>
          </a:p>
        </p:txBody>
      </p:sp>
      <p:sp>
        <p:nvSpPr>
          <p:cNvPr id="25" name="Symbol zastępczy tekstu 24">
            <a:extLst>
              <a:ext uri="{FF2B5EF4-FFF2-40B4-BE49-F238E27FC236}">
                <a16:creationId xmlns:a16="http://schemas.microsoft.com/office/drawing/2014/main" id="{61D66A70-6B10-664D-3DB7-90D19C99EF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3" y="316341"/>
            <a:ext cx="6401515" cy="5710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Mobilstationen – Wo genau?</a:t>
            </a:r>
            <a:endParaRPr lang="pl-PL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6C68AD6-CBD1-CA4A-5513-A608F3D50265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10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sp>
        <p:nvSpPr>
          <p:cNvPr id="6" name="Symbol zastępczy tekstu 4">
            <a:extLst>
              <a:ext uri="{FF2B5EF4-FFF2-40B4-BE49-F238E27FC236}">
                <a16:creationId xmlns:a16="http://schemas.microsoft.com/office/drawing/2014/main" id="{86231FA9-0DF6-1513-BB13-44ED49E049DE}"/>
              </a:ext>
            </a:extLst>
          </p:cNvPr>
          <p:cNvSpPr txBox="1">
            <a:spLocks/>
          </p:cNvSpPr>
          <p:nvPr/>
        </p:nvSpPr>
        <p:spPr>
          <a:xfrm>
            <a:off x="784608" y="2092282"/>
            <a:ext cx="4045809" cy="20773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GIS-basierte Ermittlung von maßgeblichen Potenzial- </a:t>
            </a:r>
            <a:br>
              <a:rPr lang="de-DE" sz="1600" dirty="0"/>
            </a:br>
            <a:r>
              <a:rPr lang="de-DE" sz="1600" dirty="0"/>
              <a:t>und Angebotskenngrößen</a:t>
            </a:r>
          </a:p>
          <a:p>
            <a:r>
              <a:rPr lang="de-DE" sz="1600" dirty="0"/>
              <a:t>16 Bewertungskriterien (gewichtet)</a:t>
            </a:r>
          </a:p>
          <a:p>
            <a:r>
              <a:rPr lang="de-DE" sz="1600" dirty="0"/>
              <a:t>Ziel: Eingrenzung bzw. Auswahl </a:t>
            </a:r>
            <a:br>
              <a:rPr lang="de-DE" sz="1600" dirty="0"/>
            </a:br>
            <a:r>
              <a:rPr lang="de-DE" sz="1600" dirty="0"/>
              <a:t>von Standortalternativen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9D2A9E6-94B6-9BC0-E217-81CA89881964}"/>
              </a:ext>
            </a:extLst>
          </p:cNvPr>
          <p:cNvSpPr txBox="1"/>
          <p:nvPr/>
        </p:nvSpPr>
        <p:spPr>
          <a:xfrm>
            <a:off x="1057524" y="4135725"/>
            <a:ext cx="3241324" cy="24776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</a:pPr>
            <a:r>
              <a:rPr lang="de-DE" sz="1000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de-DE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Einzugsbereich für M-Mobilstationen</a:t>
            </a:r>
          </a:p>
          <a:p>
            <a: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</a:pPr>
            <a:r>
              <a:rPr lang="de-DE" sz="1000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de-DE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Einzugsbereich für S-Mobilstationen</a:t>
            </a:r>
          </a:p>
          <a:p>
            <a: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</a:pPr>
            <a:r>
              <a:rPr lang="de-DE" sz="1000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de-DE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Summe der Personenwege/Tag an intermodalen Schnittpunkten (MIV/ÖPNV bzw. Fahrrad/ÖPNV) in maximal 100 m Entfernung zur ÖPNV-Haltestelle</a:t>
            </a:r>
          </a:p>
          <a:p>
            <a: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</a:pPr>
            <a:r>
              <a:rPr lang="de-DE" sz="1000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de-DE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gemäß Einzelhandels- und Zentrenkonzept Münster – Fortschreibung 2018</a:t>
            </a:r>
          </a:p>
          <a:p>
            <a: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</a:pPr>
            <a:r>
              <a:rPr lang="de-DE" sz="1000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de-DE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nach Straßenkategorie</a:t>
            </a:r>
          </a:p>
          <a:p>
            <a: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</a:pPr>
            <a:r>
              <a:rPr lang="de-DE" sz="1000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de-DE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nach Netzkategorien gemäß Fahrradnetz 2.0</a:t>
            </a:r>
          </a:p>
          <a:p>
            <a:pPr>
              <a:lnSpc>
                <a:spcPts val="1000"/>
              </a:lnSpc>
              <a:spcBef>
                <a:spcPts val="300"/>
              </a:spcBef>
              <a:spcAft>
                <a:spcPts val="300"/>
              </a:spcAft>
            </a:pPr>
            <a:r>
              <a:rPr lang="de-DE" sz="1000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de-DE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Durchführung eines Interessenbekundungs-verfahrens zur Vergabe von stationsbasierten Carsharing-Stellplätzen (V/0341/2021 – Anlage 1)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1000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de-DE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Elektro-Ladesäulenkonzept Münster 2021 zur Förderung der Elektromobilität (V/0312/2021)</a:t>
            </a:r>
            <a:endParaRPr lang="de-DE" sz="1000" dirty="0">
              <a:ea typeface="Noto Sans" panose="020B0502040504020204" pitchFamily="34"/>
              <a:cs typeface="Noto Sans" panose="020B0502040504020204" pitchFamily="34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E77CA3F-7990-47E2-C2C7-E213444F79C6}"/>
              </a:ext>
            </a:extLst>
          </p:cNvPr>
          <p:cNvGrpSpPr/>
          <p:nvPr/>
        </p:nvGrpSpPr>
        <p:grpSpPr>
          <a:xfrm>
            <a:off x="10154585" y="-22230"/>
            <a:ext cx="2047461" cy="1934434"/>
            <a:chOff x="10154585" y="-22230"/>
            <a:chExt cx="2047461" cy="1934434"/>
          </a:xfrm>
        </p:grpSpPr>
        <p:sp>
          <p:nvSpPr>
            <p:cNvPr id="13" name="Prostokąt z zaokrąglonym rogiem 3">
              <a:extLst>
                <a:ext uri="{FF2B5EF4-FFF2-40B4-BE49-F238E27FC236}">
                  <a16:creationId xmlns:a16="http://schemas.microsoft.com/office/drawing/2014/main" id="{234015E7-09AA-D575-643B-25B9F119F7A0}"/>
                </a:ext>
              </a:extLst>
            </p:cNvPr>
            <p:cNvSpPr/>
            <p:nvPr/>
          </p:nvSpPr>
          <p:spPr>
            <a:xfrm rot="10800000">
              <a:off x="10154585" y="-22230"/>
              <a:ext cx="2047461" cy="1934434"/>
            </a:xfrm>
            <a:prstGeom prst="round1Rect">
              <a:avLst>
                <a:gd name="adj" fmla="val 43142"/>
              </a:avLst>
            </a:prstGeom>
            <a:solidFill>
              <a:srgbClr val="8AEEBC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4" name="Rechteck: abgerundete Ecken 13">
              <a:extLst>
                <a:ext uri="{FF2B5EF4-FFF2-40B4-BE49-F238E27FC236}">
                  <a16:creationId xmlns:a16="http://schemas.microsoft.com/office/drawing/2014/main" id="{9ED529BB-DC82-0520-17CB-A5ED266529BA}"/>
                </a:ext>
              </a:extLst>
            </p:cNvPr>
            <p:cNvSpPr/>
            <p:nvPr/>
          </p:nvSpPr>
          <p:spPr>
            <a:xfrm>
              <a:off x="10314369" y="455489"/>
              <a:ext cx="1727892" cy="663453"/>
            </a:xfrm>
            <a:prstGeom prst="roundRect">
              <a:avLst>
                <a:gd name="adj" fmla="val 846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DE" i="1" dirty="0">
                  <a:solidFill>
                    <a:schemeClr val="tx1"/>
                  </a:solidFill>
                </a:rPr>
                <a:t>Beispiel:</a:t>
              </a:r>
              <a:br>
                <a:rPr lang="de-DE" i="1" dirty="0">
                  <a:solidFill>
                    <a:schemeClr val="tx1"/>
                  </a:solidFill>
                </a:rPr>
              </a:br>
              <a:r>
                <a:rPr lang="de-DE" i="1" dirty="0">
                  <a:solidFill>
                    <a:schemeClr val="tx1"/>
                  </a:solidFill>
                </a:rPr>
                <a:t>Stadt Müns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978555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ymbol zastępczy tekstu 23">
            <a:extLst>
              <a:ext uri="{FF2B5EF4-FFF2-40B4-BE49-F238E27FC236}">
                <a16:creationId xmlns:a16="http://schemas.microsoft.com/office/drawing/2014/main" id="{E7944D8E-C5CF-6AFA-ECB6-DA7B722DF5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7073" y="1737388"/>
            <a:ext cx="5253849" cy="374835"/>
          </a:xfrm>
        </p:spPr>
        <p:txBody>
          <a:bodyPr>
            <a:noAutofit/>
          </a:bodyPr>
          <a:lstStyle/>
          <a:p>
            <a:r>
              <a:rPr lang="de-DE" dirty="0"/>
              <a:t>Bevorzugte Mobilstationsstandorte </a:t>
            </a:r>
            <a:endParaRPr lang="pl-PL" dirty="0"/>
          </a:p>
        </p:txBody>
      </p:sp>
      <p:sp>
        <p:nvSpPr>
          <p:cNvPr id="25" name="Symbol zastępczy tekstu 24">
            <a:extLst>
              <a:ext uri="{FF2B5EF4-FFF2-40B4-BE49-F238E27FC236}">
                <a16:creationId xmlns:a16="http://schemas.microsoft.com/office/drawing/2014/main" id="{61D66A70-6B10-664D-3DB7-90D19C99EF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3" y="316341"/>
            <a:ext cx="6401515" cy="5710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Mobilstationen – Wo genau?</a:t>
            </a:r>
            <a:endParaRPr lang="pl-PL" dirty="0"/>
          </a:p>
        </p:txBody>
      </p:sp>
      <p:sp>
        <p:nvSpPr>
          <p:cNvPr id="2" name="Symbol zastępczy tekstu 4">
            <a:extLst>
              <a:ext uri="{FF2B5EF4-FFF2-40B4-BE49-F238E27FC236}">
                <a16:creationId xmlns:a16="http://schemas.microsoft.com/office/drawing/2014/main" id="{469D7D70-E185-AB57-565B-2474C6FCB089}"/>
              </a:ext>
            </a:extLst>
          </p:cNvPr>
          <p:cNvSpPr txBox="1">
            <a:spLocks/>
          </p:cNvSpPr>
          <p:nvPr/>
        </p:nvSpPr>
        <p:spPr>
          <a:xfrm>
            <a:off x="879471" y="2221723"/>
            <a:ext cx="3742226" cy="33484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de-DE" sz="1600" dirty="0"/>
              <a:t>47 Standortvorschläge aus der Kommunalpolitik, von Institutionen, des NWL und der Stadtverwaltung Münster</a:t>
            </a:r>
          </a:p>
          <a:p>
            <a:pPr>
              <a:spcBef>
                <a:spcPts val="1200"/>
              </a:spcBef>
            </a:pPr>
            <a:r>
              <a:rPr lang="de-DE" sz="1600" dirty="0"/>
              <a:t>davon 43 Standortvorschläge direkt oder näherungsweise berücksichtigt</a:t>
            </a:r>
            <a:endParaRPr lang="de-DE" sz="1600" b="1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6C68AD6-CBD1-CA4A-5513-A608F3D50265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11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374BC8C-8D06-9D9F-8C8F-BA64BF5C23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7707" y="974035"/>
            <a:ext cx="4245627" cy="5705061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C20792C6-25E7-246C-7C3B-50F7F12B99A9}"/>
              </a:ext>
            </a:extLst>
          </p:cNvPr>
          <p:cNvGrpSpPr/>
          <p:nvPr/>
        </p:nvGrpSpPr>
        <p:grpSpPr>
          <a:xfrm>
            <a:off x="10154585" y="-22230"/>
            <a:ext cx="2047461" cy="1934434"/>
            <a:chOff x="10154585" y="-22230"/>
            <a:chExt cx="2047461" cy="1934434"/>
          </a:xfrm>
        </p:grpSpPr>
        <p:sp>
          <p:nvSpPr>
            <p:cNvPr id="5" name="Prostokąt z zaokrąglonym rogiem 3">
              <a:extLst>
                <a:ext uri="{FF2B5EF4-FFF2-40B4-BE49-F238E27FC236}">
                  <a16:creationId xmlns:a16="http://schemas.microsoft.com/office/drawing/2014/main" id="{A2C2AD18-24C5-49C9-C1FB-0CF771013FB0}"/>
                </a:ext>
              </a:extLst>
            </p:cNvPr>
            <p:cNvSpPr/>
            <p:nvPr/>
          </p:nvSpPr>
          <p:spPr>
            <a:xfrm rot="10800000">
              <a:off x="10154585" y="-22230"/>
              <a:ext cx="2047461" cy="1934434"/>
            </a:xfrm>
            <a:prstGeom prst="round1Rect">
              <a:avLst>
                <a:gd name="adj" fmla="val 43142"/>
              </a:avLst>
            </a:prstGeom>
            <a:solidFill>
              <a:srgbClr val="8AEEBC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4" name="Rechteck: abgerundete Ecken 3">
              <a:extLst>
                <a:ext uri="{FF2B5EF4-FFF2-40B4-BE49-F238E27FC236}">
                  <a16:creationId xmlns:a16="http://schemas.microsoft.com/office/drawing/2014/main" id="{2783EC0E-A7A7-568D-D0F9-57D9C60B9181}"/>
                </a:ext>
              </a:extLst>
            </p:cNvPr>
            <p:cNvSpPr/>
            <p:nvPr/>
          </p:nvSpPr>
          <p:spPr>
            <a:xfrm>
              <a:off x="10314369" y="455489"/>
              <a:ext cx="1727892" cy="663453"/>
            </a:xfrm>
            <a:prstGeom prst="roundRect">
              <a:avLst>
                <a:gd name="adj" fmla="val 846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DE" i="1" dirty="0">
                  <a:solidFill>
                    <a:schemeClr val="tx1"/>
                  </a:solidFill>
                </a:rPr>
                <a:t>Beispiel:</a:t>
              </a:r>
              <a:br>
                <a:rPr lang="de-DE" i="1" dirty="0">
                  <a:solidFill>
                    <a:schemeClr val="tx1"/>
                  </a:solidFill>
                </a:rPr>
              </a:br>
              <a:r>
                <a:rPr lang="de-DE" i="1" dirty="0">
                  <a:solidFill>
                    <a:schemeClr val="tx1"/>
                  </a:solidFill>
                </a:rPr>
                <a:t>Stadt Müns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34775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tekstu 4">
            <a:extLst>
              <a:ext uri="{FF2B5EF4-FFF2-40B4-BE49-F238E27FC236}">
                <a16:creationId xmlns:a16="http://schemas.microsoft.com/office/drawing/2014/main" id="{4D0363BD-9831-C202-F1C7-226F8CF98CEC}"/>
              </a:ext>
            </a:extLst>
          </p:cNvPr>
          <p:cNvSpPr txBox="1">
            <a:spLocks/>
          </p:cNvSpPr>
          <p:nvPr/>
        </p:nvSpPr>
        <p:spPr>
          <a:xfrm>
            <a:off x="863378" y="1827163"/>
            <a:ext cx="10960027" cy="5314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  <a:tabLst>
                <a:tab pos="1254125" algn="l"/>
              </a:tabLst>
            </a:pPr>
            <a:r>
              <a:rPr lang="de-DE" sz="1600" spc="-50" dirty="0"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estlegung von Regeln zur Standortbewertung und –</a:t>
            </a:r>
            <a:r>
              <a:rPr lang="de-DE" sz="1600" spc="-50" dirty="0" err="1"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swahl</a:t>
            </a:r>
            <a:endParaRPr lang="de-DE" sz="1400" b="1" dirty="0"/>
          </a:p>
        </p:txBody>
      </p:sp>
      <p:sp>
        <p:nvSpPr>
          <p:cNvPr id="24" name="Symbol zastępczy tekstu 23">
            <a:extLst>
              <a:ext uri="{FF2B5EF4-FFF2-40B4-BE49-F238E27FC236}">
                <a16:creationId xmlns:a16="http://schemas.microsoft.com/office/drawing/2014/main" id="{E7944D8E-C5CF-6AFA-ECB6-DA7B722DF5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7072" y="1471564"/>
            <a:ext cx="9331328" cy="193427"/>
          </a:xfrm>
        </p:spPr>
        <p:txBody>
          <a:bodyPr>
            <a:noAutofit/>
          </a:bodyPr>
          <a:lstStyle/>
          <a:p>
            <a:r>
              <a:rPr lang="de-DE" dirty="0"/>
              <a:t>Quantitatives Standortbewertungs- und –auswahlverfahren – Regeln (I)  </a:t>
            </a:r>
            <a:endParaRPr lang="pl-PL" dirty="0"/>
          </a:p>
        </p:txBody>
      </p:sp>
      <p:sp>
        <p:nvSpPr>
          <p:cNvPr id="25" name="Symbol zastępczy tekstu 24">
            <a:extLst>
              <a:ext uri="{FF2B5EF4-FFF2-40B4-BE49-F238E27FC236}">
                <a16:creationId xmlns:a16="http://schemas.microsoft.com/office/drawing/2014/main" id="{61D66A70-6B10-664D-3DB7-90D19C99EF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3" y="316341"/>
            <a:ext cx="6401515" cy="5710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Ansatz &amp; methodisches Vorgehen</a:t>
            </a:r>
            <a:endParaRPr lang="pl-PL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6C68AD6-CBD1-CA4A-5513-A608F3D50265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12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74B581-0B98-6C6E-7B0F-F2DDA12B92E2}"/>
              </a:ext>
            </a:extLst>
          </p:cNvPr>
          <p:cNvGrpSpPr/>
          <p:nvPr/>
        </p:nvGrpSpPr>
        <p:grpSpPr>
          <a:xfrm>
            <a:off x="10154585" y="-22230"/>
            <a:ext cx="2047461" cy="1934434"/>
            <a:chOff x="10154585" y="-22230"/>
            <a:chExt cx="2047461" cy="1934434"/>
          </a:xfrm>
        </p:grpSpPr>
        <p:sp>
          <p:nvSpPr>
            <p:cNvPr id="7" name="Prostokąt z zaokrąglonym rogiem 3">
              <a:extLst>
                <a:ext uri="{FF2B5EF4-FFF2-40B4-BE49-F238E27FC236}">
                  <a16:creationId xmlns:a16="http://schemas.microsoft.com/office/drawing/2014/main" id="{8739C430-9024-70CB-0FD1-D7A7F27335C3}"/>
                </a:ext>
              </a:extLst>
            </p:cNvPr>
            <p:cNvSpPr/>
            <p:nvPr/>
          </p:nvSpPr>
          <p:spPr>
            <a:xfrm rot="10800000">
              <a:off x="10154585" y="-22230"/>
              <a:ext cx="2047461" cy="1934434"/>
            </a:xfrm>
            <a:prstGeom prst="round1Rect">
              <a:avLst>
                <a:gd name="adj" fmla="val 43142"/>
              </a:avLst>
            </a:prstGeom>
            <a:solidFill>
              <a:srgbClr val="8AEEBC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C96BE202-86A3-6A60-5A6C-8D50EFFD9A5B}"/>
                </a:ext>
              </a:extLst>
            </p:cNvPr>
            <p:cNvSpPr/>
            <p:nvPr/>
          </p:nvSpPr>
          <p:spPr>
            <a:xfrm>
              <a:off x="10314369" y="455489"/>
              <a:ext cx="1727892" cy="663453"/>
            </a:xfrm>
            <a:prstGeom prst="roundRect">
              <a:avLst>
                <a:gd name="adj" fmla="val 846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DE" i="1" dirty="0">
                  <a:solidFill>
                    <a:schemeClr val="tx1"/>
                  </a:solidFill>
                </a:rPr>
                <a:t>Beispiel:</a:t>
              </a:r>
              <a:br>
                <a:rPr lang="de-DE" i="1" dirty="0">
                  <a:solidFill>
                    <a:schemeClr val="tx1"/>
                  </a:solidFill>
                </a:rPr>
              </a:br>
              <a:r>
                <a:rPr lang="de-DE" i="1" dirty="0">
                  <a:solidFill>
                    <a:schemeClr val="tx1"/>
                  </a:solidFill>
                </a:rPr>
                <a:t>Stadt Münster</a:t>
              </a:r>
            </a:p>
          </p:txBody>
        </p:sp>
      </p:grp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CACA1A5C-2AF7-2565-E7B8-C6C1488EF887}"/>
              </a:ext>
            </a:extLst>
          </p:cNvPr>
          <p:cNvSpPr/>
          <p:nvPr/>
        </p:nvSpPr>
        <p:spPr>
          <a:xfrm>
            <a:off x="863379" y="2252505"/>
            <a:ext cx="3149821" cy="3996000"/>
          </a:xfrm>
          <a:prstGeom prst="roundRect">
            <a:avLst>
              <a:gd name="adj" fmla="val 5237"/>
            </a:avLst>
          </a:prstGeom>
          <a:noFill/>
          <a:ln w="19050"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spcAft>
                <a:spcPts val="1200"/>
              </a:spcAft>
            </a:pPr>
            <a:r>
              <a:rPr lang="de-DE" sz="1600" b="1" i="1" dirty="0">
                <a:solidFill>
                  <a:schemeClr val="tx1"/>
                </a:solidFill>
              </a:rPr>
              <a:t>Mobilstationsklasse </a:t>
            </a:r>
            <a:r>
              <a:rPr lang="de-DE" sz="2000" b="1" i="1" dirty="0">
                <a:solidFill>
                  <a:schemeClr val="tx1"/>
                </a:solidFill>
              </a:rPr>
              <a:t>L</a:t>
            </a:r>
            <a:endParaRPr lang="de-DE" sz="1600" b="1" i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intermodaler Verkehrsknoten: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b="1" dirty="0">
                <a:solidFill>
                  <a:schemeClr val="tx1"/>
                </a:solidFill>
                <a:latin typeface="Aptos Narrow" panose="020B0004020202020204" pitchFamily="34" charset="0"/>
              </a:rPr>
              <a:t>≥</a:t>
            </a:r>
            <a:r>
              <a:rPr lang="de-DE" sz="1400" b="1" dirty="0">
                <a:solidFill>
                  <a:schemeClr val="tx1"/>
                </a:solidFill>
              </a:rPr>
              <a:t> 20.000 Personenweg/Tag</a:t>
            </a:r>
            <a:endParaRPr lang="de-DE" sz="14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400" b="1" dirty="0">
                <a:solidFill>
                  <a:srgbClr val="C00000"/>
                </a:solidFill>
              </a:rPr>
              <a:t>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ÖPNV: </a:t>
            </a:r>
            <a:r>
              <a:rPr lang="de-DE" sz="1400" b="1" dirty="0">
                <a:solidFill>
                  <a:schemeClr val="tx1"/>
                </a:solidFill>
                <a:latin typeface="Aptos Narrow" panose="020B0004020202020204" pitchFamily="34" charset="0"/>
              </a:rPr>
              <a:t>≥</a:t>
            </a:r>
            <a:r>
              <a:rPr lang="de-DE" sz="1400" b="1" dirty="0">
                <a:solidFill>
                  <a:schemeClr val="tx1"/>
                </a:solidFill>
              </a:rPr>
              <a:t> 2 Buslinien </a:t>
            </a:r>
            <a:r>
              <a:rPr lang="de-DE" sz="1400" dirty="0">
                <a:solidFill>
                  <a:schemeClr val="tx1"/>
                </a:solidFill>
              </a:rPr>
              <a:t>mit unterschiedlichen Linienzielen und </a:t>
            </a:r>
            <a:r>
              <a:rPr lang="de-DE" sz="1400" b="1" dirty="0">
                <a:solidFill>
                  <a:schemeClr val="tx1"/>
                </a:solidFill>
                <a:latin typeface="Aptos Narrow" panose="020B0004020202020204" pitchFamily="34" charset="0"/>
              </a:rPr>
              <a:t>≥</a:t>
            </a:r>
            <a:r>
              <a:rPr lang="de-DE" sz="1400" b="1" dirty="0">
                <a:solidFill>
                  <a:schemeClr val="tx1"/>
                </a:solidFill>
              </a:rPr>
              <a:t> 6 Abfahrten/</a:t>
            </a:r>
            <a:r>
              <a:rPr lang="de-DE" sz="1400" b="1" dirty="0" err="1">
                <a:solidFill>
                  <a:schemeClr val="tx1"/>
                </a:solidFill>
              </a:rPr>
              <a:t>h+Richtung</a:t>
            </a:r>
            <a:endParaRPr lang="de-DE" sz="14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  <a:tabLst>
                <a:tab pos="266700" algn="l"/>
              </a:tabLst>
            </a:pPr>
            <a:r>
              <a:rPr lang="de-DE" sz="1400" b="1" dirty="0">
                <a:solidFill>
                  <a:schemeClr val="tx1"/>
                </a:solidFill>
              </a:rPr>
              <a:t>	</a:t>
            </a:r>
            <a:r>
              <a:rPr lang="de-DE" sz="1400" b="1" dirty="0">
                <a:solidFill>
                  <a:srgbClr val="FF6600"/>
                </a:solidFill>
              </a:rPr>
              <a:t>O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>
                <a:solidFill>
                  <a:schemeClr val="tx1"/>
                </a:solidFill>
              </a:rPr>
              <a:t>Bahnhof/SPNV-Haltepunkt </a:t>
            </a:r>
          </a:p>
          <a:p>
            <a:pPr>
              <a:spcBef>
                <a:spcPts val="600"/>
              </a:spcBef>
              <a:spcAft>
                <a:spcPts val="600"/>
              </a:spcAft>
              <a:tabLst>
                <a:tab pos="266700" algn="l"/>
              </a:tabLst>
            </a:pPr>
            <a:r>
              <a:rPr lang="de-DE" sz="1400" b="1" dirty="0">
                <a:solidFill>
                  <a:schemeClr val="tx1"/>
                </a:solidFill>
              </a:rPr>
              <a:t>	</a:t>
            </a:r>
            <a:r>
              <a:rPr lang="de-DE" sz="1400" b="1" dirty="0">
                <a:solidFill>
                  <a:srgbClr val="FF6600"/>
                </a:solidFill>
              </a:rPr>
              <a:t>O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Standort einer </a:t>
            </a:r>
            <a:r>
              <a:rPr lang="de-DE" sz="1400" b="1" dirty="0">
                <a:solidFill>
                  <a:schemeClr val="tx1"/>
                </a:solidFill>
              </a:rPr>
              <a:t>P+R-Anlage</a:t>
            </a:r>
          </a:p>
          <a:p>
            <a:endParaRPr lang="de-DE" sz="1400" b="1" dirty="0">
              <a:solidFill>
                <a:schemeClr val="tx1"/>
              </a:solidFill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4AFF4334-BE5A-9A24-66C5-C859D1F37C9C}"/>
              </a:ext>
            </a:extLst>
          </p:cNvPr>
          <p:cNvSpPr/>
          <p:nvPr/>
        </p:nvSpPr>
        <p:spPr>
          <a:xfrm>
            <a:off x="4248000" y="2252505"/>
            <a:ext cx="3150000" cy="3996000"/>
          </a:xfrm>
          <a:prstGeom prst="roundRect">
            <a:avLst>
              <a:gd name="adj" fmla="val 5237"/>
            </a:avLst>
          </a:prstGeom>
          <a:noFill/>
          <a:ln w="19050"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spcAft>
                <a:spcPts val="1200"/>
              </a:spcAft>
            </a:pPr>
            <a:r>
              <a:rPr lang="de-DE" sz="1600" b="1" i="1" dirty="0">
                <a:solidFill>
                  <a:schemeClr val="tx1"/>
                </a:solidFill>
              </a:rPr>
              <a:t>Mobilstationsklasse </a:t>
            </a:r>
            <a:r>
              <a:rPr lang="de-DE" sz="2000" b="1" i="1" dirty="0">
                <a:solidFill>
                  <a:schemeClr val="tx1"/>
                </a:solidFill>
              </a:rPr>
              <a:t>M</a:t>
            </a:r>
            <a:endParaRPr lang="de-DE" sz="1600" b="1" i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>
                <a:solidFill>
                  <a:schemeClr val="tx1"/>
                </a:solidFill>
              </a:rPr>
              <a:t>Bahnhof/SPNV-Haltepunkt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400" b="1" dirty="0">
                <a:solidFill>
                  <a:srgbClr val="FF6600"/>
                </a:solidFill>
              </a:rPr>
              <a:t>OD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spc="-30" dirty="0">
                <a:solidFill>
                  <a:schemeClr val="tx1"/>
                </a:solidFill>
                <a:sym typeface="Wingdings" panose="05000000000000000000" pitchFamily="2" charset="2"/>
              </a:rPr>
              <a:t>i. S. v. </a:t>
            </a:r>
            <a:r>
              <a:rPr lang="de-DE" sz="1400" spc="-30" dirty="0">
                <a:solidFill>
                  <a:schemeClr val="tx1"/>
                </a:solidFill>
              </a:rPr>
              <a:t>Erschließungsgrundsatz 1:</a:t>
            </a:r>
            <a:br>
              <a:rPr lang="de-DE" sz="1400" spc="-30" dirty="0">
                <a:solidFill>
                  <a:schemeClr val="tx1"/>
                </a:solidFill>
              </a:rPr>
            </a:br>
            <a:r>
              <a:rPr lang="de-DE" sz="1400" spc="-20" dirty="0">
                <a:solidFill>
                  <a:schemeClr val="tx1"/>
                </a:solidFill>
              </a:rPr>
              <a:t>Nachfragepotenzial </a:t>
            </a:r>
            <a:r>
              <a:rPr lang="de-DE" sz="1400" b="1" spc="-20" dirty="0">
                <a:solidFill>
                  <a:schemeClr val="tx1"/>
                </a:solidFill>
                <a:latin typeface="Aptos Narrow" panose="020B0004020202020204" pitchFamily="34" charset="0"/>
              </a:rPr>
              <a:t>≥</a:t>
            </a:r>
            <a:r>
              <a:rPr lang="de-DE" sz="1400" b="1" spc="-20" dirty="0">
                <a:solidFill>
                  <a:schemeClr val="tx1"/>
                </a:solidFill>
              </a:rPr>
              <a:t> 800 Pers. im 1.000-m-Einzugsbereich</a:t>
            </a:r>
          </a:p>
          <a:p>
            <a:pPr>
              <a:spcBef>
                <a:spcPts val="600"/>
              </a:spcBef>
              <a:spcAft>
                <a:spcPts val="600"/>
              </a:spcAft>
              <a:tabLst>
                <a:tab pos="265113" algn="l"/>
              </a:tabLst>
            </a:pPr>
            <a:r>
              <a:rPr lang="de-DE" sz="1400" b="1" dirty="0">
                <a:solidFill>
                  <a:srgbClr val="C00000"/>
                </a:solidFill>
              </a:rPr>
              <a:t>	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Erreichbarkeit: </a:t>
            </a:r>
            <a:r>
              <a:rPr lang="de-DE" sz="1400" b="1" dirty="0">
                <a:solidFill>
                  <a:schemeClr val="tx1"/>
                </a:solidFill>
              </a:rPr>
              <a:t>≤ 2.000 m bis </a:t>
            </a:r>
            <a:br>
              <a:rPr lang="de-DE" sz="1400" b="1" dirty="0">
                <a:solidFill>
                  <a:schemeClr val="tx1"/>
                </a:solidFill>
              </a:rPr>
            </a:br>
            <a:r>
              <a:rPr lang="de-DE" sz="1400" b="1" dirty="0">
                <a:solidFill>
                  <a:schemeClr val="tx1"/>
                </a:solidFill>
              </a:rPr>
              <a:t>zur nächsten M-Mobilstation </a:t>
            </a:r>
          </a:p>
          <a:p>
            <a:pPr>
              <a:spcBef>
                <a:spcPts val="600"/>
              </a:spcBef>
              <a:spcAft>
                <a:spcPts val="600"/>
              </a:spcAft>
              <a:tabLst>
                <a:tab pos="266700" algn="l"/>
              </a:tabLst>
            </a:pPr>
            <a:r>
              <a:rPr lang="de-DE" sz="1400" b="1" dirty="0">
                <a:solidFill>
                  <a:schemeClr val="tx1"/>
                </a:solidFill>
              </a:rPr>
              <a:t>	</a:t>
            </a:r>
            <a:r>
              <a:rPr lang="de-DE" sz="1400" b="1" dirty="0">
                <a:solidFill>
                  <a:srgbClr val="C00000"/>
                </a:solidFill>
              </a:rPr>
              <a:t>UN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de-DE" sz="1400" b="1" dirty="0">
                <a:solidFill>
                  <a:schemeClr val="tx1"/>
                </a:solidFill>
              </a:rPr>
              <a:t>maximale Nutzwertpunktzahl </a:t>
            </a:r>
            <a:r>
              <a:rPr lang="de-DE" sz="1400" dirty="0">
                <a:solidFill>
                  <a:schemeClr val="tx1"/>
                </a:solidFill>
              </a:rPr>
              <a:t>(bei alternativen Standorten)   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4B0914A0-536E-013E-8E24-3CE951BDDB4C}"/>
              </a:ext>
            </a:extLst>
          </p:cNvPr>
          <p:cNvSpPr/>
          <p:nvPr/>
        </p:nvSpPr>
        <p:spPr>
          <a:xfrm>
            <a:off x="7626455" y="2252505"/>
            <a:ext cx="3150000" cy="3996000"/>
          </a:xfrm>
          <a:prstGeom prst="roundRect">
            <a:avLst>
              <a:gd name="adj" fmla="val 5237"/>
            </a:avLst>
          </a:prstGeom>
          <a:noFill/>
          <a:ln w="19050"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0" bIns="36000" rtlCol="0" anchor="t" anchorCtr="0"/>
          <a:lstStyle/>
          <a:p>
            <a:pPr>
              <a:spcAft>
                <a:spcPts val="1200"/>
              </a:spcAft>
            </a:pPr>
            <a:r>
              <a:rPr lang="de-DE" sz="1600" b="1" i="1" dirty="0">
                <a:solidFill>
                  <a:schemeClr val="tx1"/>
                </a:solidFill>
              </a:rPr>
              <a:t>Mobilstationsklasse </a:t>
            </a:r>
            <a:r>
              <a:rPr lang="de-DE" sz="2000" b="1" i="1" dirty="0">
                <a:solidFill>
                  <a:schemeClr val="tx1"/>
                </a:solidFill>
              </a:rPr>
              <a:t>S</a:t>
            </a:r>
            <a:endParaRPr lang="de-DE" sz="1600" b="1" i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Erschließungsgrundsatz 1: Nachfragepotenzial </a:t>
            </a:r>
            <a:r>
              <a:rPr lang="de-DE" sz="1400" b="1" dirty="0">
                <a:solidFill>
                  <a:schemeClr val="tx1"/>
                </a:solidFill>
              </a:rPr>
              <a:t>≥ 200 Pers. im 1.000-m-Einzugsbereich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400" b="1" dirty="0">
                <a:solidFill>
                  <a:srgbClr val="C00000"/>
                </a:solidFill>
              </a:rPr>
              <a:t>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Erreichbarkeit: </a:t>
            </a:r>
            <a:r>
              <a:rPr lang="de-DE" sz="1400" b="1" dirty="0">
                <a:solidFill>
                  <a:schemeClr val="tx1"/>
                </a:solidFill>
              </a:rPr>
              <a:t>≤ 1.000 m bis </a:t>
            </a:r>
            <a:br>
              <a:rPr lang="de-DE" sz="1400" b="1" dirty="0">
                <a:solidFill>
                  <a:schemeClr val="tx1"/>
                </a:solidFill>
              </a:rPr>
            </a:br>
            <a:r>
              <a:rPr lang="de-DE" sz="1400" b="1" dirty="0">
                <a:solidFill>
                  <a:schemeClr val="tx1"/>
                </a:solidFill>
              </a:rPr>
              <a:t>zur nächsten S-Mobilstation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400" b="1" dirty="0">
                <a:solidFill>
                  <a:srgbClr val="C00000"/>
                </a:solidFill>
              </a:rPr>
              <a:t>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spc="-30" dirty="0">
                <a:solidFill>
                  <a:schemeClr val="tx1"/>
                </a:solidFill>
              </a:rPr>
              <a:t>mögl. </a:t>
            </a:r>
            <a:r>
              <a:rPr lang="de-DE" sz="1400" b="1" spc="-30" dirty="0">
                <a:solidFill>
                  <a:schemeClr val="tx1"/>
                </a:solidFill>
              </a:rPr>
              <a:t>hohe Nutzwertpunktzahl</a:t>
            </a:r>
          </a:p>
          <a:p>
            <a:pPr>
              <a:spcBef>
                <a:spcPts val="600"/>
              </a:spcBef>
              <a:spcAft>
                <a:spcPts val="600"/>
              </a:spcAft>
              <a:tabLst>
                <a:tab pos="266700" algn="l"/>
              </a:tabLst>
            </a:pPr>
            <a:r>
              <a:rPr lang="de-DE" sz="1400" b="1" dirty="0">
                <a:solidFill>
                  <a:srgbClr val="FF6600"/>
                </a:solidFill>
              </a:rPr>
              <a:t>	O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spc="-30" dirty="0">
                <a:solidFill>
                  <a:schemeClr val="tx1"/>
                </a:solidFill>
              </a:rPr>
              <a:t>ÖPNV-Haltestelle mit optimaler Flächenerschließung </a:t>
            </a:r>
          </a:p>
          <a:p>
            <a:pPr>
              <a:spcBef>
                <a:spcPts val="600"/>
              </a:spcBef>
              <a:spcAft>
                <a:spcPts val="600"/>
              </a:spcAft>
              <a:tabLst>
                <a:tab pos="266700" algn="l"/>
              </a:tabLst>
            </a:pPr>
            <a:r>
              <a:rPr lang="de-DE" sz="1400" b="1" dirty="0">
                <a:solidFill>
                  <a:srgbClr val="FF6600"/>
                </a:solidFill>
              </a:rPr>
              <a:t>	O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spc="-40" dirty="0">
                <a:solidFill>
                  <a:schemeClr val="tx1"/>
                </a:solidFill>
              </a:rPr>
              <a:t>bevorzugter </a:t>
            </a:r>
            <a:r>
              <a:rPr lang="de-DE" sz="1400" b="1" spc="-40" dirty="0">
                <a:solidFill>
                  <a:schemeClr val="tx1"/>
                </a:solidFill>
              </a:rPr>
              <a:t>Standort (</a:t>
            </a:r>
            <a:r>
              <a:rPr lang="de-DE" sz="1400" b="1" spc="-40" dirty="0" err="1">
                <a:solidFill>
                  <a:schemeClr val="tx1"/>
                </a:solidFill>
              </a:rPr>
              <a:t>vorschlag</a:t>
            </a:r>
            <a:r>
              <a:rPr lang="de-DE" sz="1400" b="1" spc="-40" dirty="0">
                <a:solidFill>
                  <a:schemeClr val="tx1"/>
                </a:solidFill>
              </a:rPr>
              <a:t>)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de-DE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6904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tekstu 4">
            <a:extLst>
              <a:ext uri="{FF2B5EF4-FFF2-40B4-BE49-F238E27FC236}">
                <a16:creationId xmlns:a16="http://schemas.microsoft.com/office/drawing/2014/main" id="{4D0363BD-9831-C202-F1C7-226F8CF98CEC}"/>
              </a:ext>
            </a:extLst>
          </p:cNvPr>
          <p:cNvSpPr txBox="1">
            <a:spLocks/>
          </p:cNvSpPr>
          <p:nvPr/>
        </p:nvSpPr>
        <p:spPr>
          <a:xfrm>
            <a:off x="863378" y="1933492"/>
            <a:ext cx="11007730" cy="43795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  <a:tabLst>
                <a:tab pos="1254125" algn="l"/>
              </a:tabLst>
            </a:pPr>
            <a:r>
              <a:rPr lang="de-DE" sz="1600" spc="-10" dirty="0"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ichtig:	</a:t>
            </a:r>
            <a:r>
              <a:rPr lang="de-DE" sz="1600" spc="-50" dirty="0"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-Mobilstationen haben immer auch die Funktion und Ausstattung von M- und S-Mobilstationen. </a:t>
            </a:r>
            <a:br>
              <a:rPr lang="de-DE" sz="1600" spc="-10" dirty="0"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600" spc="-10" dirty="0"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de-DE" sz="1600" spc="-50" dirty="0"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-Mobilstationen haben immer auch die Funktion und Ausstattung von S-Mobilstationen. </a:t>
            </a:r>
            <a:endParaRPr lang="de-DE" sz="1600" spc="-50" dirty="0">
              <a:effectLst/>
              <a:latin typeface="AvenirNext LT Pro Regular" panose="020B05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1200"/>
              </a:spcBef>
            </a:pPr>
            <a:r>
              <a:rPr lang="de-DE" sz="1600" spc="-10" dirty="0">
                <a:effectLst/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hrittweise Eingrenzung und Auswahl der Standorte nach </a:t>
            </a:r>
            <a:r>
              <a:rPr lang="de-DE" sz="1600" spc="-10" dirty="0"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r>
              <a:rPr lang="de-DE" sz="1600" spc="-10" dirty="0">
                <a:effectLst/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m „Top-Down-Ansatz“</a:t>
            </a:r>
          </a:p>
          <a:p>
            <a:pPr>
              <a:spcBef>
                <a:spcPts val="1200"/>
              </a:spcBef>
            </a:pPr>
            <a:endParaRPr lang="de-DE" sz="1600" spc="-10" dirty="0">
              <a:effectLst/>
              <a:latin typeface="AvenirNext LT Pro Regular" panose="020B05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1200"/>
              </a:spcBef>
            </a:pPr>
            <a:endParaRPr lang="de-DE" spc="-10" dirty="0">
              <a:latin typeface="AvenirNext LT Pro Regular" panose="020B05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1200"/>
              </a:spcBef>
            </a:pPr>
            <a:endParaRPr lang="de-DE" sz="1800" spc="-10" dirty="0">
              <a:effectLst/>
              <a:latin typeface="AvenirNext LT Pro Regular" panose="020B05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1200"/>
              </a:spcBef>
            </a:pPr>
            <a:endParaRPr lang="de-DE" spc="-10" dirty="0">
              <a:latin typeface="AvenirNext LT Pro Regular" panose="020B05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r>
              <a:rPr lang="de-DE" sz="1600" spc="-10" dirty="0"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rster Vorschlag zu möglicher Priorisierung</a:t>
            </a:r>
            <a:r>
              <a:rPr lang="de-DE" sz="1600" spc="-10" dirty="0">
                <a:effectLst/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er zeitlichen Umsetzung bei M- und S-Mobilstationen:</a:t>
            </a:r>
          </a:p>
          <a:p>
            <a:pPr lvl="1">
              <a:spcBef>
                <a:spcPts val="300"/>
              </a:spcBef>
            </a:pPr>
            <a:r>
              <a:rPr lang="de-DE" sz="1400" spc="-10" dirty="0">
                <a:effectLst/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1/S1: Standorte für das weitgehende Erreichen der Erschließungsgrundsätze erforderlich </a:t>
            </a:r>
            <a:br>
              <a:rPr lang="de-DE" sz="1400" spc="-10" dirty="0">
                <a:effectLst/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400" spc="-10" dirty="0">
                <a:effectLst/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weiterhin kleinere Erschließungslücken in Siedlungsrandbereichen)</a:t>
            </a:r>
          </a:p>
          <a:p>
            <a:pPr lvl="1">
              <a:spcBef>
                <a:spcPts val="300"/>
              </a:spcBef>
            </a:pPr>
            <a:r>
              <a:rPr lang="de-DE" sz="1400" spc="-10" dirty="0">
                <a:effectLst/>
                <a:latin typeface="AvenirNext LT Pro Regular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2/S2: Standorte für das vollständige Erreichen der Erschließungsgrundsätze erforderlich</a:t>
            </a:r>
            <a:endParaRPr lang="de-DE" sz="1400" b="1" dirty="0"/>
          </a:p>
        </p:txBody>
      </p:sp>
      <p:sp>
        <p:nvSpPr>
          <p:cNvPr id="24" name="Symbol zastępczy tekstu 23">
            <a:extLst>
              <a:ext uri="{FF2B5EF4-FFF2-40B4-BE49-F238E27FC236}">
                <a16:creationId xmlns:a16="http://schemas.microsoft.com/office/drawing/2014/main" id="{E7944D8E-C5CF-6AFA-ECB6-DA7B722DF5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7072" y="1567260"/>
            <a:ext cx="9587297" cy="571088"/>
          </a:xfrm>
        </p:spPr>
        <p:txBody>
          <a:bodyPr>
            <a:noAutofit/>
          </a:bodyPr>
          <a:lstStyle/>
          <a:p>
            <a:r>
              <a:rPr lang="de-DE" dirty="0"/>
              <a:t>Quantitatives Standortbewertungs- und –auswahlverfahren – Regeln  (II) </a:t>
            </a:r>
            <a:endParaRPr lang="pl-PL" dirty="0"/>
          </a:p>
        </p:txBody>
      </p:sp>
      <p:sp>
        <p:nvSpPr>
          <p:cNvPr id="25" name="Symbol zastępczy tekstu 24">
            <a:extLst>
              <a:ext uri="{FF2B5EF4-FFF2-40B4-BE49-F238E27FC236}">
                <a16:creationId xmlns:a16="http://schemas.microsoft.com/office/drawing/2014/main" id="{61D66A70-6B10-664D-3DB7-90D19C99EF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3" y="316341"/>
            <a:ext cx="6401515" cy="5710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Ansatz &amp; methodisches Vorgehen</a:t>
            </a:r>
            <a:endParaRPr lang="pl-PL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6C68AD6-CBD1-CA4A-5513-A608F3D50265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13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74B581-0B98-6C6E-7B0F-F2DDA12B92E2}"/>
              </a:ext>
            </a:extLst>
          </p:cNvPr>
          <p:cNvGrpSpPr/>
          <p:nvPr/>
        </p:nvGrpSpPr>
        <p:grpSpPr>
          <a:xfrm>
            <a:off x="10154585" y="-22230"/>
            <a:ext cx="2047461" cy="1934434"/>
            <a:chOff x="10154585" y="-22230"/>
            <a:chExt cx="2047461" cy="1934434"/>
          </a:xfrm>
        </p:grpSpPr>
        <p:sp>
          <p:nvSpPr>
            <p:cNvPr id="7" name="Prostokąt z zaokrąglonym rogiem 3">
              <a:extLst>
                <a:ext uri="{FF2B5EF4-FFF2-40B4-BE49-F238E27FC236}">
                  <a16:creationId xmlns:a16="http://schemas.microsoft.com/office/drawing/2014/main" id="{8739C430-9024-70CB-0FD1-D7A7F27335C3}"/>
                </a:ext>
              </a:extLst>
            </p:cNvPr>
            <p:cNvSpPr/>
            <p:nvPr/>
          </p:nvSpPr>
          <p:spPr>
            <a:xfrm rot="10800000">
              <a:off x="10154585" y="-22230"/>
              <a:ext cx="2047461" cy="1934434"/>
            </a:xfrm>
            <a:prstGeom prst="round1Rect">
              <a:avLst>
                <a:gd name="adj" fmla="val 43142"/>
              </a:avLst>
            </a:prstGeom>
            <a:solidFill>
              <a:srgbClr val="8AEEBC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C96BE202-86A3-6A60-5A6C-8D50EFFD9A5B}"/>
                </a:ext>
              </a:extLst>
            </p:cNvPr>
            <p:cNvSpPr/>
            <p:nvPr/>
          </p:nvSpPr>
          <p:spPr>
            <a:xfrm>
              <a:off x="10314369" y="455489"/>
              <a:ext cx="1727892" cy="663453"/>
            </a:xfrm>
            <a:prstGeom prst="roundRect">
              <a:avLst>
                <a:gd name="adj" fmla="val 846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DE" i="1" dirty="0">
                  <a:solidFill>
                    <a:schemeClr val="tx1"/>
                  </a:solidFill>
                </a:rPr>
                <a:t>Beispiel:</a:t>
              </a:r>
              <a:br>
                <a:rPr lang="de-DE" i="1" dirty="0">
                  <a:solidFill>
                    <a:schemeClr val="tx1"/>
                  </a:solidFill>
                </a:rPr>
              </a:br>
              <a:r>
                <a:rPr lang="de-DE" i="1" dirty="0">
                  <a:solidFill>
                    <a:schemeClr val="tx1"/>
                  </a:solidFill>
                </a:rPr>
                <a:t>Stadt Münster</a:t>
              </a:r>
            </a:p>
          </p:txBody>
        </p: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F9213CEF-5819-3265-57AE-FC7D7D20D7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7932" y="3043091"/>
            <a:ext cx="9476171" cy="1600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3963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ymbol zastępczy tekstu 23">
            <a:extLst>
              <a:ext uri="{FF2B5EF4-FFF2-40B4-BE49-F238E27FC236}">
                <a16:creationId xmlns:a16="http://schemas.microsoft.com/office/drawing/2014/main" id="{E7944D8E-C5CF-6AFA-ECB6-DA7B722DF5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7072" y="1567260"/>
            <a:ext cx="9427513" cy="571088"/>
          </a:xfrm>
        </p:spPr>
        <p:txBody>
          <a:bodyPr>
            <a:noAutofit/>
          </a:bodyPr>
          <a:lstStyle/>
          <a:p>
            <a:r>
              <a:rPr lang="de-DE" dirty="0"/>
              <a:t>Quantitatives Standortbewertungs- und –auswahlverfahren – Ergebnis</a:t>
            </a:r>
            <a:endParaRPr lang="pl-PL" dirty="0"/>
          </a:p>
        </p:txBody>
      </p:sp>
      <p:sp>
        <p:nvSpPr>
          <p:cNvPr id="25" name="Symbol zastępczy tekstu 24">
            <a:extLst>
              <a:ext uri="{FF2B5EF4-FFF2-40B4-BE49-F238E27FC236}">
                <a16:creationId xmlns:a16="http://schemas.microsoft.com/office/drawing/2014/main" id="{61D66A70-6B10-664D-3DB7-90D19C99EF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3" y="316341"/>
            <a:ext cx="6401515" cy="5710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Ansatz &amp; methodisches Vorgehen</a:t>
            </a:r>
            <a:endParaRPr lang="pl-PL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6C68AD6-CBD1-CA4A-5513-A608F3D50265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14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74B581-0B98-6C6E-7B0F-F2DDA12B92E2}"/>
              </a:ext>
            </a:extLst>
          </p:cNvPr>
          <p:cNvGrpSpPr/>
          <p:nvPr/>
        </p:nvGrpSpPr>
        <p:grpSpPr>
          <a:xfrm>
            <a:off x="10154585" y="-22230"/>
            <a:ext cx="2047461" cy="1934434"/>
            <a:chOff x="10154585" y="-22230"/>
            <a:chExt cx="2047461" cy="1934434"/>
          </a:xfrm>
        </p:grpSpPr>
        <p:sp>
          <p:nvSpPr>
            <p:cNvPr id="7" name="Prostokąt z zaokrąglonym rogiem 3">
              <a:extLst>
                <a:ext uri="{FF2B5EF4-FFF2-40B4-BE49-F238E27FC236}">
                  <a16:creationId xmlns:a16="http://schemas.microsoft.com/office/drawing/2014/main" id="{8739C430-9024-70CB-0FD1-D7A7F27335C3}"/>
                </a:ext>
              </a:extLst>
            </p:cNvPr>
            <p:cNvSpPr/>
            <p:nvPr/>
          </p:nvSpPr>
          <p:spPr>
            <a:xfrm rot="10800000">
              <a:off x="10154585" y="-22230"/>
              <a:ext cx="2047461" cy="1934434"/>
            </a:xfrm>
            <a:prstGeom prst="round1Rect">
              <a:avLst>
                <a:gd name="adj" fmla="val 43142"/>
              </a:avLst>
            </a:prstGeom>
            <a:solidFill>
              <a:srgbClr val="8AEEBC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C96BE202-86A3-6A60-5A6C-8D50EFFD9A5B}"/>
                </a:ext>
              </a:extLst>
            </p:cNvPr>
            <p:cNvSpPr/>
            <p:nvPr/>
          </p:nvSpPr>
          <p:spPr>
            <a:xfrm>
              <a:off x="10314369" y="455489"/>
              <a:ext cx="1727892" cy="663453"/>
            </a:xfrm>
            <a:prstGeom prst="roundRect">
              <a:avLst>
                <a:gd name="adj" fmla="val 846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DE" i="1" dirty="0">
                  <a:solidFill>
                    <a:schemeClr val="tx1"/>
                  </a:solidFill>
                </a:rPr>
                <a:t>Beispiel:</a:t>
              </a:r>
              <a:br>
                <a:rPr lang="de-DE" i="1" dirty="0">
                  <a:solidFill>
                    <a:schemeClr val="tx1"/>
                  </a:solidFill>
                </a:rPr>
              </a:br>
              <a:r>
                <a:rPr lang="de-DE" i="1" dirty="0">
                  <a:solidFill>
                    <a:schemeClr val="tx1"/>
                  </a:solidFill>
                </a:rPr>
                <a:t>Stadt Münster</a:t>
              </a:r>
            </a:p>
          </p:txBody>
        </p:sp>
      </p:grpSp>
      <p:pic>
        <p:nvPicPr>
          <p:cNvPr id="9" name="Grafik 8">
            <a:extLst>
              <a:ext uri="{FF2B5EF4-FFF2-40B4-BE49-F238E27FC236}">
                <a16:creationId xmlns:a16="http://schemas.microsoft.com/office/drawing/2014/main" id="{14FD33D8-3E60-538C-41F3-09D9558151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1329" y="2027831"/>
            <a:ext cx="5973256" cy="425164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D34A975-1030-7A2A-D70C-BC03BD2978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463" y="2027831"/>
            <a:ext cx="3100649" cy="4256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5094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ymbol zastępczy tekstu 23">
            <a:extLst>
              <a:ext uri="{FF2B5EF4-FFF2-40B4-BE49-F238E27FC236}">
                <a16:creationId xmlns:a16="http://schemas.microsoft.com/office/drawing/2014/main" id="{E7944D8E-C5CF-6AFA-ECB6-DA7B722DF5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7072" y="1908210"/>
            <a:ext cx="11464927" cy="374835"/>
          </a:xfrm>
        </p:spPr>
        <p:txBody>
          <a:bodyPr>
            <a:noAutofit/>
          </a:bodyPr>
          <a:lstStyle/>
          <a:p>
            <a:r>
              <a:rPr lang="de-DE" dirty="0"/>
              <a:t>Qualitative Bewertung der ermittelten Mobilstationsstandorte</a:t>
            </a:r>
            <a:endParaRPr lang="pl-PL" dirty="0"/>
          </a:p>
        </p:txBody>
      </p:sp>
      <p:sp>
        <p:nvSpPr>
          <p:cNvPr id="25" name="Symbol zastępczy tekstu 24">
            <a:extLst>
              <a:ext uri="{FF2B5EF4-FFF2-40B4-BE49-F238E27FC236}">
                <a16:creationId xmlns:a16="http://schemas.microsoft.com/office/drawing/2014/main" id="{61D66A70-6B10-664D-3DB7-90D19C99EF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3" y="316341"/>
            <a:ext cx="6401515" cy="5710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Mobilstationen – Wo genau?</a:t>
            </a:r>
            <a:endParaRPr lang="pl-PL" dirty="0"/>
          </a:p>
        </p:txBody>
      </p:sp>
      <p:sp>
        <p:nvSpPr>
          <p:cNvPr id="2" name="Symbol zastępczy tekstu 4">
            <a:extLst>
              <a:ext uri="{FF2B5EF4-FFF2-40B4-BE49-F238E27FC236}">
                <a16:creationId xmlns:a16="http://schemas.microsoft.com/office/drawing/2014/main" id="{469D7D70-E185-AB57-565B-2474C6FCB089}"/>
              </a:ext>
            </a:extLst>
          </p:cNvPr>
          <p:cNvSpPr txBox="1">
            <a:spLocks/>
          </p:cNvSpPr>
          <p:nvPr/>
        </p:nvSpPr>
        <p:spPr>
          <a:xfrm>
            <a:off x="879469" y="2400631"/>
            <a:ext cx="10869507" cy="25450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de-DE" sz="1600" dirty="0"/>
              <a:t>Bewertung der 1. Auswahl potenzieller Mobilstationsstandorte (Orientierungs- und Nutzwerte) </a:t>
            </a:r>
            <a:br>
              <a:rPr lang="de-DE" sz="1600" dirty="0"/>
            </a:br>
            <a:r>
              <a:rPr lang="de-DE" sz="1600" dirty="0"/>
              <a:t>mit fachplanerischer Expertise und Ortskenntnis durch die Stadtverwaltung Münster </a:t>
            </a:r>
          </a:p>
          <a:p>
            <a:pPr>
              <a:spcBef>
                <a:spcPts val="1200"/>
              </a:spcBef>
            </a:pPr>
            <a:r>
              <a:rPr lang="de-DE" sz="1600" dirty="0"/>
              <a:t>Bewertungsaspekte :</a:t>
            </a:r>
          </a:p>
          <a:p>
            <a:pPr lvl="1"/>
            <a:r>
              <a:rPr lang="de-DE" sz="1400" dirty="0"/>
              <a:t>langfristige Planungen zu neuen oder veränderten ÖPNV-Haltestellen und Bahnhöfen  (optional: als Standortvorschlag)</a:t>
            </a:r>
          </a:p>
          <a:p>
            <a:pPr lvl="1"/>
            <a:r>
              <a:rPr lang="de-DE" sz="1400" dirty="0"/>
              <a:t>Integration der Mobilstationsstandorte in das bestehende und zukünftige ÖPNV-Liniennetz (soweit bereits bekannt) </a:t>
            </a:r>
          </a:p>
          <a:p>
            <a:pPr lvl="1"/>
            <a:r>
              <a:rPr lang="de-DE" sz="1400" dirty="0"/>
              <a:t>Platzverhältnisse mittels Ortskenntnis oder Luftbildanalyse zu vorhandenen Freiflächen </a:t>
            </a:r>
          </a:p>
          <a:p>
            <a:pPr lvl="1"/>
            <a:r>
              <a:rPr lang="de-DE" sz="1400" dirty="0"/>
              <a:t>Kenntnisse zu sonstigen geplanten Maßnahmen mit Bezug zu Mobilstationen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6C68AD6-CBD1-CA4A-5513-A608F3D50265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15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E0983AD-AB29-211C-1F95-0FC1440A4B02}"/>
              </a:ext>
            </a:extLst>
          </p:cNvPr>
          <p:cNvGrpSpPr/>
          <p:nvPr/>
        </p:nvGrpSpPr>
        <p:grpSpPr>
          <a:xfrm>
            <a:off x="10154585" y="-22230"/>
            <a:ext cx="2047461" cy="1934434"/>
            <a:chOff x="10154585" y="-22230"/>
            <a:chExt cx="2047461" cy="1934434"/>
          </a:xfrm>
        </p:grpSpPr>
        <p:sp>
          <p:nvSpPr>
            <p:cNvPr id="4" name="Prostokąt z zaokrąglonym rogiem 3">
              <a:extLst>
                <a:ext uri="{FF2B5EF4-FFF2-40B4-BE49-F238E27FC236}">
                  <a16:creationId xmlns:a16="http://schemas.microsoft.com/office/drawing/2014/main" id="{7A7D8EC9-3716-3CF3-31FC-51A3FBF5D02F}"/>
                </a:ext>
              </a:extLst>
            </p:cNvPr>
            <p:cNvSpPr/>
            <p:nvPr/>
          </p:nvSpPr>
          <p:spPr>
            <a:xfrm rot="10800000">
              <a:off x="10154585" y="-22230"/>
              <a:ext cx="2047461" cy="1934434"/>
            </a:xfrm>
            <a:prstGeom prst="round1Rect">
              <a:avLst>
                <a:gd name="adj" fmla="val 43142"/>
              </a:avLst>
            </a:prstGeom>
            <a:solidFill>
              <a:srgbClr val="8AEEBC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F6ED1682-3155-3A77-1C08-515DC6ECDEDC}"/>
                </a:ext>
              </a:extLst>
            </p:cNvPr>
            <p:cNvSpPr/>
            <p:nvPr/>
          </p:nvSpPr>
          <p:spPr>
            <a:xfrm>
              <a:off x="10314369" y="455489"/>
              <a:ext cx="1727892" cy="663453"/>
            </a:xfrm>
            <a:prstGeom prst="roundRect">
              <a:avLst>
                <a:gd name="adj" fmla="val 846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DE" i="1" dirty="0">
                  <a:solidFill>
                    <a:schemeClr val="tx1"/>
                  </a:solidFill>
                </a:rPr>
                <a:t>Beispiel:</a:t>
              </a:r>
              <a:br>
                <a:rPr lang="de-DE" i="1" dirty="0">
                  <a:solidFill>
                    <a:schemeClr val="tx1"/>
                  </a:solidFill>
                </a:rPr>
              </a:br>
              <a:r>
                <a:rPr lang="de-DE" i="1" dirty="0">
                  <a:solidFill>
                    <a:schemeClr val="tx1"/>
                  </a:solidFill>
                </a:rPr>
                <a:t>Stadt Münster</a:t>
              </a:r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76DD294D-94F3-7DF5-B01D-08421FDF6E65}"/>
              </a:ext>
            </a:extLst>
          </p:cNvPr>
          <p:cNvSpPr txBox="1"/>
          <p:nvPr/>
        </p:nvSpPr>
        <p:spPr>
          <a:xfrm>
            <a:off x="879469" y="5146532"/>
            <a:ext cx="10538604" cy="91986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lnSpc>
                <a:spcPts val="2200"/>
              </a:lnSpc>
              <a:spcBef>
                <a:spcPts val="1200"/>
              </a:spcBef>
              <a:buFont typeface="Wingdings" panose="05000000000000000000" pitchFamily="2" charset="2"/>
              <a:buChar char="à"/>
              <a:tabLst>
                <a:tab pos="269875" algn="l"/>
                <a:tab pos="541338" algn="l"/>
              </a:tabLst>
            </a:pPr>
            <a:r>
              <a:rPr lang="de-DE" sz="1600" b="1" dirty="0">
                <a:sym typeface="Wingdings" panose="05000000000000000000" pitchFamily="2" charset="2"/>
              </a:rPr>
              <a:t>punktuelle Anpassung der Standortvorschläge aus der ersten Auswahl </a:t>
            </a:r>
            <a:br>
              <a:rPr lang="de-DE" sz="1600" b="1" dirty="0">
                <a:sym typeface="Wingdings" panose="05000000000000000000" pitchFamily="2" charset="2"/>
              </a:rPr>
            </a:br>
            <a:r>
              <a:rPr lang="de-DE" sz="1600" b="1" dirty="0">
                <a:sym typeface="Wingdings" panose="05000000000000000000" pitchFamily="2" charset="2"/>
              </a:rPr>
              <a:t> finale Standortvorschläge</a:t>
            </a:r>
            <a:br>
              <a:rPr lang="de-DE" sz="1600" b="1" dirty="0">
                <a:sym typeface="Wingdings" panose="05000000000000000000" pitchFamily="2" charset="2"/>
              </a:rPr>
            </a:br>
            <a:r>
              <a:rPr lang="de-DE" sz="1600" b="1" dirty="0">
                <a:sym typeface="Wingdings" panose="05000000000000000000" pitchFamily="2" charset="2"/>
              </a:rPr>
              <a:t>	 Überprüfung der physischen und rechtlichen Flächenverfügbarkeit im Anschluss</a:t>
            </a:r>
            <a:endParaRPr lang="de-DE" sz="1600" b="1" dirty="0"/>
          </a:p>
        </p:txBody>
      </p:sp>
    </p:spTree>
    <p:extLst>
      <p:ext uri="{BB962C8B-B14F-4D97-AF65-F5344CB8AC3E}">
        <p14:creationId xmlns:p14="http://schemas.microsoft.com/office/powerpoint/2010/main" val="1825220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>
            <a:extLst>
              <a:ext uri="{FF2B5EF4-FFF2-40B4-BE49-F238E27FC236}">
                <a16:creationId xmlns:a16="http://schemas.microsoft.com/office/drawing/2014/main" id="{50CB56F1-7A83-CC48-401C-363FFD9C0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1372" y="2212457"/>
            <a:ext cx="5617126" cy="2503796"/>
          </a:xfrm>
        </p:spPr>
        <p:txBody>
          <a:bodyPr/>
          <a:lstStyle/>
          <a:p>
            <a:r>
              <a:rPr lang="de-DE" spc="-80" dirty="0"/>
              <a:t>Ergebnis</a:t>
            </a:r>
            <a:endParaRPr lang="pl-PL" spc="-80" dirty="0"/>
          </a:p>
        </p:txBody>
      </p:sp>
      <p:sp>
        <p:nvSpPr>
          <p:cNvPr id="2" name="Symbol zastępczy tekstu 42">
            <a:extLst>
              <a:ext uri="{FF2B5EF4-FFF2-40B4-BE49-F238E27FC236}">
                <a16:creationId xmlns:a16="http://schemas.microsoft.com/office/drawing/2014/main" id="{F86D028B-82D7-4051-99F7-19987D8F7985}"/>
              </a:ext>
            </a:extLst>
          </p:cNvPr>
          <p:cNvSpPr txBox="1">
            <a:spLocks/>
          </p:cNvSpPr>
          <p:nvPr/>
        </p:nvSpPr>
        <p:spPr>
          <a:xfrm>
            <a:off x="650474" y="1981169"/>
            <a:ext cx="3855660" cy="289566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5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b="0" dirty="0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0</a:t>
            </a:r>
            <a:r>
              <a:rPr lang="de-DE" b="0" dirty="0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4</a:t>
            </a:r>
            <a:endParaRPr lang="pl-PL" b="0" dirty="0">
              <a:latin typeface="Noto Sans Light" panose="020B0402040504020204" pitchFamily="34" charset="0"/>
              <a:ea typeface="Noto Sans Light" panose="020B0402040504020204" pitchFamily="34" charset="0"/>
              <a:cs typeface="Noto Sans Light" panose="020B04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24381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A4B1CC4A-3172-00FC-8D5B-53D1A61DE7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176" y="2253427"/>
            <a:ext cx="4867123" cy="1774531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287A6150-696B-8C6E-AF70-EABCCEBB2D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1799" y="0"/>
            <a:ext cx="6150201" cy="6858000"/>
          </a:xfrm>
          <a:prstGeom prst="rect">
            <a:avLst/>
          </a:prstGeom>
        </p:spPr>
      </p:pic>
      <p:sp>
        <p:nvSpPr>
          <p:cNvPr id="24" name="Symbol zastępczy tekstu 23">
            <a:extLst>
              <a:ext uri="{FF2B5EF4-FFF2-40B4-BE49-F238E27FC236}">
                <a16:creationId xmlns:a16="http://schemas.microsoft.com/office/drawing/2014/main" id="{E7944D8E-C5CF-6AFA-ECB6-DA7B722DF5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7073" y="1737388"/>
            <a:ext cx="2990162" cy="374835"/>
          </a:xfrm>
        </p:spPr>
        <p:txBody>
          <a:bodyPr>
            <a:noAutofit/>
          </a:bodyPr>
          <a:lstStyle/>
          <a:p>
            <a:r>
              <a:rPr lang="de-DE" dirty="0"/>
              <a:t>Übersicht</a:t>
            </a:r>
            <a:endParaRPr lang="pl-PL" dirty="0"/>
          </a:p>
        </p:txBody>
      </p:sp>
      <p:sp>
        <p:nvSpPr>
          <p:cNvPr id="25" name="Symbol zastępczy tekstu 24">
            <a:extLst>
              <a:ext uri="{FF2B5EF4-FFF2-40B4-BE49-F238E27FC236}">
                <a16:creationId xmlns:a16="http://schemas.microsoft.com/office/drawing/2014/main" id="{61D66A70-6B10-664D-3DB7-90D19C99EF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3" y="316341"/>
            <a:ext cx="6401515" cy="5710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Standortvorschläge</a:t>
            </a:r>
            <a:endParaRPr lang="pl-PL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6C68AD6-CBD1-CA4A-5513-A608F3D50265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17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pic>
        <p:nvPicPr>
          <p:cNvPr id="6" name="Obraz 1">
            <a:extLst>
              <a:ext uri="{FF2B5EF4-FFF2-40B4-BE49-F238E27FC236}">
                <a16:creationId xmlns:a16="http://schemas.microsoft.com/office/drawing/2014/main" id="{31AAA994-165A-A94C-CFDE-AB76D3ACF0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44718" y="6298864"/>
            <a:ext cx="1262141" cy="287515"/>
          </a:xfrm>
          <a:prstGeom prst="rect">
            <a:avLst/>
          </a:prstGeom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A51F17E-A698-6B7E-0F74-B57C54327324}"/>
              </a:ext>
            </a:extLst>
          </p:cNvPr>
          <p:cNvGrpSpPr/>
          <p:nvPr/>
        </p:nvGrpSpPr>
        <p:grpSpPr>
          <a:xfrm>
            <a:off x="10154585" y="-22230"/>
            <a:ext cx="2047461" cy="1934434"/>
            <a:chOff x="10154585" y="-22230"/>
            <a:chExt cx="2047461" cy="1934434"/>
          </a:xfrm>
        </p:grpSpPr>
        <p:sp>
          <p:nvSpPr>
            <p:cNvPr id="4" name="Prostokąt z zaokrąglonym rogiem 3">
              <a:extLst>
                <a:ext uri="{FF2B5EF4-FFF2-40B4-BE49-F238E27FC236}">
                  <a16:creationId xmlns:a16="http://schemas.microsoft.com/office/drawing/2014/main" id="{53EB7161-F17B-3687-04D5-BF4BC44FC985}"/>
                </a:ext>
              </a:extLst>
            </p:cNvPr>
            <p:cNvSpPr/>
            <p:nvPr/>
          </p:nvSpPr>
          <p:spPr>
            <a:xfrm rot="10800000">
              <a:off x="10154585" y="-22230"/>
              <a:ext cx="2047461" cy="1934434"/>
            </a:xfrm>
            <a:prstGeom prst="round1Rect">
              <a:avLst>
                <a:gd name="adj" fmla="val 43142"/>
              </a:avLst>
            </a:prstGeom>
            <a:solidFill>
              <a:srgbClr val="8AEEBC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7A21985F-7958-1246-1D16-0929E4A3405A}"/>
                </a:ext>
              </a:extLst>
            </p:cNvPr>
            <p:cNvSpPr/>
            <p:nvPr/>
          </p:nvSpPr>
          <p:spPr>
            <a:xfrm>
              <a:off x="10314369" y="455489"/>
              <a:ext cx="1727892" cy="663453"/>
            </a:xfrm>
            <a:prstGeom prst="roundRect">
              <a:avLst>
                <a:gd name="adj" fmla="val 846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DE" i="1" dirty="0">
                  <a:solidFill>
                    <a:schemeClr val="tx1"/>
                  </a:solidFill>
                </a:rPr>
                <a:t>Beispiel:</a:t>
              </a:r>
              <a:br>
                <a:rPr lang="de-DE" i="1" dirty="0">
                  <a:solidFill>
                    <a:schemeClr val="tx1"/>
                  </a:solidFill>
                </a:rPr>
              </a:br>
              <a:r>
                <a:rPr lang="de-DE" i="1" dirty="0">
                  <a:solidFill>
                    <a:schemeClr val="tx1"/>
                  </a:solidFill>
                </a:rPr>
                <a:t>Stadt Müns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323243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9B470FDF-C89F-240C-CF8D-59773FF6903C}"/>
              </a:ext>
            </a:extLst>
          </p:cNvPr>
          <p:cNvSpPr/>
          <p:nvPr/>
        </p:nvSpPr>
        <p:spPr>
          <a:xfrm>
            <a:off x="10155007" y="-19878"/>
            <a:ext cx="2046932" cy="20375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Symbol zastępczy tekstu 24">
            <a:extLst>
              <a:ext uri="{FF2B5EF4-FFF2-40B4-BE49-F238E27FC236}">
                <a16:creationId xmlns:a16="http://schemas.microsoft.com/office/drawing/2014/main" id="{61D66A70-6B10-664D-3DB7-90D19C99EF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2" y="316341"/>
            <a:ext cx="7623826" cy="571088"/>
          </a:xfrm>
        </p:spPr>
        <p:txBody>
          <a:bodyPr>
            <a:noAutofit/>
          </a:bodyPr>
          <a:lstStyle/>
          <a:p>
            <a:r>
              <a:rPr lang="de-DE" dirty="0"/>
              <a:t>Erschließungswirkung </a:t>
            </a:r>
            <a:endParaRPr lang="pl-PL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F659A1DF-D365-27C7-C1BF-ACA781FE5D39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18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F1C2E7B-2FC2-843F-1E63-206F28C8905C}"/>
              </a:ext>
            </a:extLst>
          </p:cNvPr>
          <p:cNvGrpSpPr/>
          <p:nvPr/>
        </p:nvGrpSpPr>
        <p:grpSpPr>
          <a:xfrm>
            <a:off x="622486" y="1152000"/>
            <a:ext cx="4822306" cy="5328000"/>
            <a:chOff x="344571" y="1160614"/>
            <a:chExt cx="4822306" cy="5328000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E3BDEF76-9D44-D64E-BE24-84695FADA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4571" y="1160614"/>
              <a:ext cx="4822306" cy="5328000"/>
            </a:xfrm>
            <a:prstGeom prst="rect">
              <a:avLst/>
            </a:prstGeom>
          </p:spPr>
        </p:pic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CC7528CE-3668-84D0-5EBF-D5D6DDD40BF3}"/>
                </a:ext>
              </a:extLst>
            </p:cNvPr>
            <p:cNvSpPr txBox="1"/>
            <p:nvPr/>
          </p:nvSpPr>
          <p:spPr>
            <a:xfrm>
              <a:off x="3684061" y="1160614"/>
              <a:ext cx="1482571" cy="60034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vert="horz" wrap="none" lIns="91440" tIns="45720" rIns="91440" bIns="45720" rtlCol="0">
              <a:noAutofit/>
            </a:bodyPr>
            <a:lstStyle>
              <a:defPPr>
                <a:defRPr lang="pl-PL"/>
              </a:defPPr>
              <a:lvl1pPr>
                <a:defRPr>
                  <a:latin typeface="Noto Sans Light" panose="020B0402040504020204" pitchFamily="34"/>
                  <a:ea typeface="Noto Sans Light" panose="020B0402040504020204" pitchFamily="34"/>
                  <a:cs typeface="Noto Sans Light" panose="020B0402040504020204" pitchFamily="34"/>
                </a:defRPr>
              </a:lvl1pPr>
            </a:lstStyle>
            <a:p>
              <a:pPr algn="r"/>
              <a:r>
                <a:rPr lang="de-DE" dirty="0"/>
                <a:t>Status quo:</a:t>
              </a:r>
              <a:br>
                <a:rPr lang="de-DE" dirty="0"/>
              </a:br>
              <a:r>
                <a:rPr lang="de-DE" dirty="0"/>
                <a:t>10 Standorte</a:t>
              </a:r>
            </a:p>
          </p:txBody>
        </p:sp>
      </p:grpSp>
      <p:sp>
        <p:nvSpPr>
          <p:cNvPr id="16" name="Textfeld 15">
            <a:extLst>
              <a:ext uri="{FF2B5EF4-FFF2-40B4-BE49-F238E27FC236}">
                <a16:creationId xmlns:a16="http://schemas.microsoft.com/office/drawing/2014/main" id="{AC1547BA-17AB-7757-2743-AE5341D99471}"/>
              </a:ext>
            </a:extLst>
          </p:cNvPr>
          <p:cNvSpPr txBox="1"/>
          <p:nvPr/>
        </p:nvSpPr>
        <p:spPr>
          <a:xfrm>
            <a:off x="7467600" y="5900281"/>
            <a:ext cx="3073446" cy="400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de-DE" sz="1000" dirty="0"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t>darunter: 43 von 47 Standortvorschlägen aus der Kommunalpolitik und von sonst. Institutionen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D1B0867-DE99-4B81-FDE6-F7EFBB72CFD7}"/>
              </a:ext>
            </a:extLst>
          </p:cNvPr>
          <p:cNvGrpSpPr/>
          <p:nvPr/>
        </p:nvGrpSpPr>
        <p:grpSpPr>
          <a:xfrm>
            <a:off x="10154585" y="-22230"/>
            <a:ext cx="2047461" cy="1934434"/>
            <a:chOff x="10154585" y="-22230"/>
            <a:chExt cx="2047461" cy="1934434"/>
          </a:xfrm>
        </p:grpSpPr>
        <p:sp>
          <p:nvSpPr>
            <p:cNvPr id="8" name="Prostokąt z zaokrąglonym rogiem 3">
              <a:extLst>
                <a:ext uri="{FF2B5EF4-FFF2-40B4-BE49-F238E27FC236}">
                  <a16:creationId xmlns:a16="http://schemas.microsoft.com/office/drawing/2014/main" id="{08A2AF49-F4BA-983F-4D00-7B4C6BDBD5D5}"/>
                </a:ext>
              </a:extLst>
            </p:cNvPr>
            <p:cNvSpPr/>
            <p:nvPr/>
          </p:nvSpPr>
          <p:spPr>
            <a:xfrm rot="10800000">
              <a:off x="10154585" y="-22230"/>
              <a:ext cx="2047461" cy="1934434"/>
            </a:xfrm>
            <a:prstGeom prst="round1Rect">
              <a:avLst>
                <a:gd name="adj" fmla="val 43142"/>
              </a:avLst>
            </a:prstGeom>
            <a:solidFill>
              <a:srgbClr val="8AEEBC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A8ECB812-A2D7-3E5D-B1B2-7EEA78DECFA5}"/>
                </a:ext>
              </a:extLst>
            </p:cNvPr>
            <p:cNvSpPr/>
            <p:nvPr/>
          </p:nvSpPr>
          <p:spPr>
            <a:xfrm>
              <a:off x="10314369" y="455489"/>
              <a:ext cx="1727892" cy="663453"/>
            </a:xfrm>
            <a:prstGeom prst="roundRect">
              <a:avLst>
                <a:gd name="adj" fmla="val 846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DE" i="1" dirty="0">
                  <a:solidFill>
                    <a:schemeClr val="tx1"/>
                  </a:solidFill>
                </a:rPr>
                <a:t>Beispiel:</a:t>
              </a:r>
              <a:br>
                <a:rPr lang="de-DE" i="1" dirty="0">
                  <a:solidFill>
                    <a:schemeClr val="tx1"/>
                  </a:solidFill>
                </a:rPr>
              </a:br>
              <a:r>
                <a:rPr lang="de-DE" i="1" dirty="0">
                  <a:solidFill>
                    <a:schemeClr val="tx1"/>
                  </a:solidFill>
                </a:rPr>
                <a:t>Stadt Münster</a:t>
              </a:r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F28D64A-F369-C55D-97A1-3FB2F956F7E1}"/>
              </a:ext>
            </a:extLst>
          </p:cNvPr>
          <p:cNvGrpSpPr/>
          <p:nvPr/>
        </p:nvGrpSpPr>
        <p:grpSpPr>
          <a:xfrm>
            <a:off x="5753150" y="1152000"/>
            <a:ext cx="4815817" cy="5322970"/>
            <a:chOff x="5681430" y="1231639"/>
            <a:chExt cx="4815817" cy="5322970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AC8C6D17-4C9B-C43B-C02A-AB1A21AF12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681430" y="1231639"/>
              <a:ext cx="4815817" cy="5322970"/>
            </a:xfrm>
            <a:prstGeom prst="rect">
              <a:avLst/>
            </a:prstGeom>
          </p:spPr>
        </p:pic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E9100043-5BBE-CB10-515C-8DF6CB5D248B}"/>
                </a:ext>
              </a:extLst>
            </p:cNvPr>
            <p:cNvSpPr txBox="1"/>
            <p:nvPr/>
          </p:nvSpPr>
          <p:spPr>
            <a:xfrm>
              <a:off x="8602168" y="1235149"/>
              <a:ext cx="1885088" cy="57907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vert="horz" wrap="none" lIns="91440" tIns="45720" rIns="91440" bIns="45720" rtlCol="0">
              <a:noAutofit/>
            </a:bodyPr>
            <a:lstStyle/>
            <a:p>
              <a:pPr algn="l"/>
              <a:r>
                <a:rPr lang="de-DE" dirty="0">
                  <a:latin typeface="Noto Sans Light" panose="020B0402040504020204" pitchFamily="34"/>
                  <a:ea typeface="Noto Sans Light" panose="020B0402040504020204" pitchFamily="34"/>
                  <a:cs typeface="Noto Sans Light" panose="020B0402040504020204" pitchFamily="34"/>
                </a:rPr>
                <a:t>Standortkonzept:</a:t>
              </a:r>
            </a:p>
            <a:p>
              <a:pPr algn="r"/>
              <a:r>
                <a:rPr lang="de-DE" dirty="0">
                  <a:latin typeface="Noto Sans Light" panose="020B0402040504020204" pitchFamily="34"/>
                  <a:ea typeface="Noto Sans Light" panose="020B0402040504020204" pitchFamily="34"/>
                  <a:cs typeface="Noto Sans Light" panose="020B0402040504020204" pitchFamily="34"/>
                </a:rPr>
                <a:t>146 Standorte</a:t>
              </a:r>
            </a:p>
          </p:txBody>
        </p:sp>
      </p:grpSp>
      <p:sp>
        <p:nvSpPr>
          <p:cNvPr id="4" name="Pfeil: nach rechts 3">
            <a:extLst>
              <a:ext uri="{FF2B5EF4-FFF2-40B4-BE49-F238E27FC236}">
                <a16:creationId xmlns:a16="http://schemas.microsoft.com/office/drawing/2014/main" id="{787465C4-B678-8D9B-F237-C37B8222CD30}"/>
              </a:ext>
            </a:extLst>
          </p:cNvPr>
          <p:cNvSpPr/>
          <p:nvPr/>
        </p:nvSpPr>
        <p:spPr>
          <a:xfrm>
            <a:off x="4643721" y="4282627"/>
            <a:ext cx="1779599" cy="571088"/>
          </a:xfrm>
          <a:prstGeom prst="rightArrow">
            <a:avLst/>
          </a:prstGeom>
          <a:solidFill>
            <a:srgbClr val="C00000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47276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D261BCFF-F5D0-6D17-44B7-0212EFFC80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4936" y="2789193"/>
            <a:ext cx="6726237" cy="270971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7AAE4314-15B0-3569-AC22-FF24ABF237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032" y="2295330"/>
            <a:ext cx="3715681" cy="4156511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2825A4D-F432-DF42-1F41-DC30139B4A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7073" y="1610718"/>
            <a:ext cx="9620576" cy="637958"/>
          </a:xfrm>
        </p:spPr>
        <p:txBody>
          <a:bodyPr>
            <a:noAutofit/>
          </a:bodyPr>
          <a:lstStyle/>
          <a:p>
            <a:r>
              <a:rPr lang="de-DE"/>
              <a:t>Erschlossene </a:t>
            </a:r>
            <a:r>
              <a:rPr lang="de-DE" dirty="0"/>
              <a:t>Nachfragepotenziale im fußläufigen Einzugsbereich (500 m = 8 min) bei vollständig umgesetztem Standortkonze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8804A6-C288-072F-0BB1-7FB7E4B009E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3" y="316341"/>
            <a:ext cx="4337986" cy="571088"/>
          </a:xfrm>
        </p:spPr>
        <p:txBody>
          <a:bodyPr>
            <a:noAutofit/>
          </a:bodyPr>
          <a:lstStyle/>
          <a:p>
            <a:r>
              <a:rPr lang="de-DE" dirty="0"/>
              <a:t>Erschließungswirkung 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45CBC2-CA41-B985-C61D-6325F94E4373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19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C72A68A-1B31-5323-7DC3-019C8F8BB6FD}"/>
              </a:ext>
            </a:extLst>
          </p:cNvPr>
          <p:cNvGrpSpPr/>
          <p:nvPr/>
        </p:nvGrpSpPr>
        <p:grpSpPr>
          <a:xfrm>
            <a:off x="10154585" y="-22230"/>
            <a:ext cx="2047461" cy="1934434"/>
            <a:chOff x="10154585" y="-22230"/>
            <a:chExt cx="2047461" cy="1934434"/>
          </a:xfrm>
        </p:grpSpPr>
        <p:sp>
          <p:nvSpPr>
            <p:cNvPr id="7" name="Prostokąt z zaokrąglonym rogiem 3">
              <a:extLst>
                <a:ext uri="{FF2B5EF4-FFF2-40B4-BE49-F238E27FC236}">
                  <a16:creationId xmlns:a16="http://schemas.microsoft.com/office/drawing/2014/main" id="{8C716845-69FB-0E2F-DEDD-3D9833E9BA42}"/>
                </a:ext>
              </a:extLst>
            </p:cNvPr>
            <p:cNvSpPr/>
            <p:nvPr/>
          </p:nvSpPr>
          <p:spPr>
            <a:xfrm rot="10800000">
              <a:off x="10154585" y="-22230"/>
              <a:ext cx="2047461" cy="1934434"/>
            </a:xfrm>
            <a:prstGeom prst="round1Rect">
              <a:avLst>
                <a:gd name="adj" fmla="val 43142"/>
              </a:avLst>
            </a:prstGeom>
            <a:solidFill>
              <a:srgbClr val="8AEEBC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8" name="Rechteck: abgerundete Ecken 7">
              <a:extLst>
                <a:ext uri="{FF2B5EF4-FFF2-40B4-BE49-F238E27FC236}">
                  <a16:creationId xmlns:a16="http://schemas.microsoft.com/office/drawing/2014/main" id="{0CB1A6A3-CC58-880F-7E49-FB32CD5A255C}"/>
                </a:ext>
              </a:extLst>
            </p:cNvPr>
            <p:cNvSpPr/>
            <p:nvPr/>
          </p:nvSpPr>
          <p:spPr>
            <a:xfrm>
              <a:off x="10314369" y="455489"/>
              <a:ext cx="1727892" cy="663453"/>
            </a:xfrm>
            <a:prstGeom prst="roundRect">
              <a:avLst>
                <a:gd name="adj" fmla="val 846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DE" i="1" dirty="0">
                  <a:solidFill>
                    <a:schemeClr val="tx1"/>
                  </a:solidFill>
                </a:rPr>
                <a:t>Beispiel:</a:t>
              </a:r>
              <a:br>
                <a:rPr lang="de-DE" i="1" dirty="0">
                  <a:solidFill>
                    <a:schemeClr val="tx1"/>
                  </a:solidFill>
                </a:rPr>
              </a:br>
              <a:r>
                <a:rPr lang="de-DE" i="1" dirty="0">
                  <a:solidFill>
                    <a:schemeClr val="tx1"/>
                  </a:solidFill>
                </a:rPr>
                <a:t>Stadt Müns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233611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>
            <a:extLst>
              <a:ext uri="{FF2B5EF4-FFF2-40B4-BE49-F238E27FC236}">
                <a16:creationId xmlns:a16="http://schemas.microsoft.com/office/drawing/2014/main" id="{50CB56F1-7A83-CC48-401C-363FFD9C0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1372" y="2212457"/>
            <a:ext cx="5476777" cy="2503796"/>
          </a:xfrm>
        </p:spPr>
        <p:txBody>
          <a:bodyPr/>
          <a:lstStyle/>
          <a:p>
            <a:pPr>
              <a:lnSpc>
                <a:spcPts val="5800"/>
              </a:lnSpc>
              <a:spcBef>
                <a:spcPts val="2400"/>
              </a:spcBef>
            </a:pPr>
            <a:r>
              <a:rPr lang="de-DE" dirty="0"/>
              <a:t>Mobilstationen –</a:t>
            </a:r>
            <a:br>
              <a:rPr lang="de-DE" dirty="0"/>
            </a:br>
            <a:r>
              <a:rPr lang="de-DE" sz="4800" b="1" dirty="0"/>
              <a:t>Warum?</a:t>
            </a:r>
            <a:endParaRPr lang="pl-PL" b="1" dirty="0"/>
          </a:p>
        </p:txBody>
      </p:sp>
      <p:sp>
        <p:nvSpPr>
          <p:cNvPr id="2" name="Symbol zastępczy tekstu 42">
            <a:extLst>
              <a:ext uri="{FF2B5EF4-FFF2-40B4-BE49-F238E27FC236}">
                <a16:creationId xmlns:a16="http://schemas.microsoft.com/office/drawing/2014/main" id="{F86D028B-82D7-4051-99F7-19987D8F7985}"/>
              </a:ext>
            </a:extLst>
          </p:cNvPr>
          <p:cNvSpPr txBox="1">
            <a:spLocks/>
          </p:cNvSpPr>
          <p:nvPr/>
        </p:nvSpPr>
        <p:spPr>
          <a:xfrm>
            <a:off x="650474" y="1981169"/>
            <a:ext cx="3855660" cy="289566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5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b="0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4451024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>
            <a:extLst>
              <a:ext uri="{FF2B5EF4-FFF2-40B4-BE49-F238E27FC236}">
                <a16:creationId xmlns:a16="http://schemas.microsoft.com/office/drawing/2014/main" id="{50CB56F1-7A83-CC48-401C-363FFD9C0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1372" y="2212457"/>
            <a:ext cx="5476777" cy="2503796"/>
          </a:xfrm>
        </p:spPr>
        <p:txBody>
          <a:bodyPr/>
          <a:lstStyle/>
          <a:p>
            <a:r>
              <a:rPr lang="de-DE" dirty="0"/>
              <a:t>Bewertung </a:t>
            </a:r>
            <a:br>
              <a:rPr lang="de-DE" dirty="0"/>
            </a:br>
            <a:r>
              <a:rPr lang="de-DE" dirty="0"/>
              <a:t>&amp; </a:t>
            </a:r>
            <a:r>
              <a:rPr lang="pl-PL" dirty="0"/>
              <a:t>Einordnung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des Verfahrens</a:t>
            </a:r>
            <a:endParaRPr lang="pl-PL" dirty="0"/>
          </a:p>
        </p:txBody>
      </p:sp>
      <p:sp>
        <p:nvSpPr>
          <p:cNvPr id="2" name="Symbol zastępczy tekstu 42">
            <a:extLst>
              <a:ext uri="{FF2B5EF4-FFF2-40B4-BE49-F238E27FC236}">
                <a16:creationId xmlns:a16="http://schemas.microsoft.com/office/drawing/2014/main" id="{F86D028B-82D7-4051-99F7-19987D8F7985}"/>
              </a:ext>
            </a:extLst>
          </p:cNvPr>
          <p:cNvSpPr txBox="1">
            <a:spLocks/>
          </p:cNvSpPr>
          <p:nvPr/>
        </p:nvSpPr>
        <p:spPr>
          <a:xfrm>
            <a:off x="650474" y="1981169"/>
            <a:ext cx="3855660" cy="289566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5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b="0" dirty="0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0</a:t>
            </a:r>
            <a:r>
              <a:rPr lang="de-DE" b="0" dirty="0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5</a:t>
            </a:r>
            <a:endParaRPr lang="pl-PL" b="0" dirty="0">
              <a:latin typeface="Noto Sans Light" panose="020B0402040504020204" pitchFamily="34" charset="0"/>
              <a:ea typeface="Noto Sans Light" panose="020B0402040504020204" pitchFamily="34" charset="0"/>
              <a:cs typeface="Noto Sans Light" panose="020B04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1733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6A0AE1C9-B5CF-DD32-9BE4-2290CB9004BD}"/>
              </a:ext>
            </a:extLst>
          </p:cNvPr>
          <p:cNvSpPr txBox="1">
            <a:spLocks/>
          </p:cNvSpPr>
          <p:nvPr/>
        </p:nvSpPr>
        <p:spPr>
          <a:xfrm>
            <a:off x="879467" y="3532911"/>
            <a:ext cx="10954567" cy="7846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de-DE" b="1" dirty="0"/>
              <a:t>integrativ </a:t>
            </a:r>
            <a:r>
              <a:rPr lang="de-DE" b="1" dirty="0">
                <a:sym typeface="Wingdings" panose="05000000000000000000" pitchFamily="2" charset="2"/>
              </a:rPr>
              <a:t></a:t>
            </a:r>
            <a:endParaRPr lang="de-DE" b="1" dirty="0"/>
          </a:p>
          <a:p>
            <a:pPr>
              <a:lnSpc>
                <a:spcPct val="100000"/>
              </a:lnSpc>
            </a:pPr>
            <a:r>
              <a:rPr lang="de-DE" sz="1400" spc="-40" dirty="0"/>
              <a:t>Standortvorschläge Dritter (Bürgerschaft, Kommunalpolitik, AT-Organisationen usw.) </a:t>
            </a:r>
            <a:r>
              <a:rPr lang="de-DE" sz="1400" i="1" spc="-40" dirty="0">
                <a:sym typeface="Wingdings" panose="05000000000000000000" pitchFamily="2" charset="2"/>
              </a:rPr>
              <a:t> </a:t>
            </a:r>
            <a:r>
              <a:rPr lang="de-DE" sz="1400" i="1" spc="-40" dirty="0"/>
              <a:t>berücksichtigt</a:t>
            </a:r>
          </a:p>
        </p:txBody>
      </p:sp>
      <p:sp>
        <p:nvSpPr>
          <p:cNvPr id="4" name="Symbol zastępczy tekstu 4">
            <a:extLst>
              <a:ext uri="{FF2B5EF4-FFF2-40B4-BE49-F238E27FC236}">
                <a16:creationId xmlns:a16="http://schemas.microsoft.com/office/drawing/2014/main" id="{8ADA2012-4470-5CC8-6419-2108FF1C353F}"/>
              </a:ext>
            </a:extLst>
          </p:cNvPr>
          <p:cNvSpPr txBox="1">
            <a:spLocks/>
          </p:cNvSpPr>
          <p:nvPr/>
        </p:nvSpPr>
        <p:spPr>
          <a:xfrm>
            <a:off x="879469" y="1409913"/>
            <a:ext cx="10954567" cy="10563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de-DE" b="1" dirty="0"/>
              <a:t>transparent </a:t>
            </a:r>
            <a:r>
              <a:rPr lang="de-DE" b="1" dirty="0">
                <a:sym typeface="Wingdings" panose="05000000000000000000" pitchFamily="2" charset="2"/>
              </a:rPr>
              <a:t></a:t>
            </a:r>
            <a:endParaRPr lang="de-DE" sz="2400" b="1" dirty="0"/>
          </a:p>
          <a:p>
            <a:pPr>
              <a:lnSpc>
                <a:spcPct val="100000"/>
              </a:lnSpc>
            </a:pPr>
            <a:r>
              <a:rPr lang="de-DE" sz="1400" dirty="0"/>
              <a:t>Standortauswahlkriterien </a:t>
            </a:r>
            <a:r>
              <a:rPr lang="de-DE" sz="1400" i="1" dirty="0">
                <a:sym typeface="Wingdings" panose="05000000000000000000" pitchFamily="2" charset="2"/>
              </a:rPr>
              <a:t></a:t>
            </a:r>
            <a:r>
              <a:rPr lang="de-DE" sz="1400" i="1" dirty="0"/>
              <a:t> definiert</a:t>
            </a:r>
          </a:p>
          <a:p>
            <a:pPr>
              <a:lnSpc>
                <a:spcPct val="100000"/>
              </a:lnSpc>
            </a:pPr>
            <a:r>
              <a:rPr lang="de-DE" sz="1400" dirty="0"/>
              <a:t>genutzte Daten </a:t>
            </a:r>
            <a:r>
              <a:rPr lang="de-DE" sz="1400" i="1" dirty="0">
                <a:sym typeface="Wingdings" panose="05000000000000000000" pitchFamily="2" charset="2"/>
              </a:rPr>
              <a:t> offengelegt</a:t>
            </a:r>
            <a:endParaRPr lang="de-DE" sz="1400" i="1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58804A6-C288-072F-0BB1-7FB7E4B009E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2" y="316341"/>
            <a:ext cx="9107209" cy="571088"/>
          </a:xfrm>
        </p:spPr>
        <p:txBody>
          <a:bodyPr>
            <a:noAutofit/>
          </a:bodyPr>
          <a:lstStyle/>
          <a:p>
            <a:r>
              <a:rPr lang="de-DE" dirty="0"/>
              <a:t>Bewertung &amp; Einordnung des Verfahrens</a:t>
            </a:r>
            <a:endParaRPr lang="pl-P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45CBC2-CA41-B985-C61D-6325F94E4373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21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sp>
        <p:nvSpPr>
          <p:cNvPr id="2" name="Symbol zastępczy tekstu 4">
            <a:extLst>
              <a:ext uri="{FF2B5EF4-FFF2-40B4-BE49-F238E27FC236}">
                <a16:creationId xmlns:a16="http://schemas.microsoft.com/office/drawing/2014/main" id="{8208E75E-6800-E336-5FB0-ACAE8776FBC0}"/>
              </a:ext>
            </a:extLst>
          </p:cNvPr>
          <p:cNvSpPr txBox="1">
            <a:spLocks/>
          </p:cNvSpPr>
          <p:nvPr/>
        </p:nvSpPr>
        <p:spPr>
          <a:xfrm>
            <a:off x="879468" y="2468764"/>
            <a:ext cx="10954567" cy="10616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de-DE" b="1" dirty="0"/>
              <a:t>umfassend </a:t>
            </a:r>
            <a:r>
              <a:rPr lang="de-DE" b="1" dirty="0">
                <a:sym typeface="Wingdings" panose="05000000000000000000" pitchFamily="2" charset="2"/>
              </a:rPr>
              <a:t></a:t>
            </a:r>
            <a:endParaRPr lang="de-DE" b="1" dirty="0"/>
          </a:p>
          <a:p>
            <a:pPr>
              <a:lnSpc>
                <a:spcPct val="100000"/>
              </a:lnSpc>
            </a:pPr>
            <a:r>
              <a:rPr lang="de-DE" sz="1400" dirty="0"/>
              <a:t>zukünftige Nachfragepotenziale und </a:t>
            </a:r>
            <a:r>
              <a:rPr lang="de-DE" sz="1400" spc="-40" dirty="0"/>
              <a:t>vorhandene / geplante Mobilitätsangebote</a:t>
            </a:r>
            <a:r>
              <a:rPr lang="de-DE" sz="1400" dirty="0"/>
              <a:t> </a:t>
            </a:r>
            <a:r>
              <a:rPr lang="de-DE" sz="1400" i="1" dirty="0">
                <a:sym typeface="Wingdings" panose="05000000000000000000" pitchFamily="2" charset="2"/>
              </a:rPr>
              <a:t> b</a:t>
            </a:r>
            <a:r>
              <a:rPr lang="de-DE" sz="1400" i="1" dirty="0"/>
              <a:t>erücksichtigt</a:t>
            </a:r>
            <a:endParaRPr lang="de-DE" sz="1400" i="1" dirty="0">
              <a:sym typeface="Wingdings" panose="05000000000000000000" pitchFamily="2" charset="2"/>
            </a:endParaRPr>
          </a:p>
          <a:p>
            <a:pPr>
              <a:lnSpc>
                <a:spcPct val="100000"/>
              </a:lnSpc>
            </a:pPr>
            <a:r>
              <a:rPr lang="de-DE" sz="1400" dirty="0"/>
              <a:t>Dimensionierung der Ausstattungsmodule </a:t>
            </a:r>
            <a:r>
              <a:rPr lang="de-DE" sz="1400" i="1" dirty="0">
                <a:sym typeface="Wingdings" panose="05000000000000000000" pitchFamily="2" charset="2"/>
              </a:rPr>
              <a:t> möglich</a:t>
            </a:r>
            <a:endParaRPr lang="de-DE" sz="1400" i="1" spc="-40" dirty="0"/>
          </a:p>
        </p:txBody>
      </p:sp>
      <p:sp>
        <p:nvSpPr>
          <p:cNvPr id="7" name="Symbol zastępczy tekstu 4">
            <a:extLst>
              <a:ext uri="{FF2B5EF4-FFF2-40B4-BE49-F238E27FC236}">
                <a16:creationId xmlns:a16="http://schemas.microsoft.com/office/drawing/2014/main" id="{DF6FD16C-F54D-86A4-270C-63C628F17559}"/>
              </a:ext>
            </a:extLst>
          </p:cNvPr>
          <p:cNvSpPr txBox="1">
            <a:spLocks/>
          </p:cNvSpPr>
          <p:nvPr/>
        </p:nvSpPr>
        <p:spPr>
          <a:xfrm>
            <a:off x="879465" y="4301656"/>
            <a:ext cx="10954567" cy="6917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de-DE" b="1" dirty="0"/>
              <a:t>zukunftsfähig  </a:t>
            </a:r>
            <a:r>
              <a:rPr lang="de-DE" sz="1800" b="1" dirty="0">
                <a:sym typeface="Wingdings" panose="05000000000000000000" pitchFamily="2" charset="2"/>
              </a:rPr>
              <a:t></a:t>
            </a:r>
            <a:endParaRPr lang="de-DE" b="1" dirty="0"/>
          </a:p>
          <a:p>
            <a:pPr>
              <a:lnSpc>
                <a:spcPct val="100000"/>
              </a:lnSpc>
            </a:pPr>
            <a:r>
              <a:rPr lang="de-DE" sz="1400" spc="-40" dirty="0"/>
              <a:t>Aktualisierung der Ergebnisse bzw. Anpassung des Verfahrens (Bewertungskriterien, Gewichtung, Daten) </a:t>
            </a:r>
            <a:r>
              <a:rPr lang="de-DE" sz="1400" i="1" spc="-40" dirty="0">
                <a:sym typeface="Wingdings" panose="05000000000000000000" pitchFamily="2" charset="2"/>
              </a:rPr>
              <a:t> möglich</a:t>
            </a:r>
            <a:endParaRPr lang="de-DE" sz="1400" i="1" spc="-40" dirty="0"/>
          </a:p>
        </p:txBody>
      </p:sp>
      <p:sp>
        <p:nvSpPr>
          <p:cNvPr id="8" name="Symbol zastępczy tekstu 4">
            <a:extLst>
              <a:ext uri="{FF2B5EF4-FFF2-40B4-BE49-F238E27FC236}">
                <a16:creationId xmlns:a16="http://schemas.microsoft.com/office/drawing/2014/main" id="{0EEFD3FC-A526-7BBA-383A-2596CFFB7B89}"/>
              </a:ext>
            </a:extLst>
          </p:cNvPr>
          <p:cNvSpPr txBox="1">
            <a:spLocks/>
          </p:cNvSpPr>
          <p:nvPr/>
        </p:nvSpPr>
        <p:spPr>
          <a:xfrm>
            <a:off x="879465" y="5071958"/>
            <a:ext cx="10954567" cy="1298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2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de-DE" b="1" dirty="0"/>
              <a:t>übertragbar </a:t>
            </a:r>
            <a:r>
              <a:rPr lang="de-DE" sz="1800" b="1" dirty="0">
                <a:sym typeface="Wingdings" panose="05000000000000000000" pitchFamily="2" charset="2"/>
              </a:rPr>
              <a:t></a:t>
            </a:r>
            <a:endParaRPr lang="de-DE" b="1" dirty="0"/>
          </a:p>
          <a:p>
            <a:pPr>
              <a:lnSpc>
                <a:spcPct val="100000"/>
              </a:lnSpc>
            </a:pPr>
            <a:r>
              <a:rPr lang="de-DE" sz="1400" dirty="0"/>
              <a:t>methodische Ansätze des ZNM-Handbuch Mobilstationen NRW </a:t>
            </a:r>
            <a:r>
              <a:rPr lang="de-DE" sz="1400" i="1" dirty="0">
                <a:sym typeface="Wingdings" panose="05000000000000000000" pitchFamily="2" charset="2"/>
              </a:rPr>
              <a:t> </a:t>
            </a:r>
            <a:r>
              <a:rPr lang="de-DE" sz="1400" i="1" dirty="0"/>
              <a:t>eingeflossen</a:t>
            </a:r>
          </a:p>
          <a:p>
            <a:pPr>
              <a:lnSpc>
                <a:spcPct val="100000"/>
              </a:lnSpc>
            </a:pPr>
            <a:r>
              <a:rPr lang="de-DE" sz="1400" spc="-40" dirty="0"/>
              <a:t>Übertragbarkeit auf andere Städte </a:t>
            </a:r>
            <a:r>
              <a:rPr lang="de-DE" sz="1400" i="1" spc="-40" dirty="0">
                <a:sym typeface="Wingdings" panose="05000000000000000000" pitchFamily="2" charset="2"/>
              </a:rPr>
              <a:t> </a:t>
            </a:r>
            <a:r>
              <a:rPr lang="de-DE" sz="1400" i="1" spc="-40" dirty="0"/>
              <a:t>gegeben</a:t>
            </a:r>
          </a:p>
          <a:p>
            <a:pPr>
              <a:lnSpc>
                <a:spcPct val="100000"/>
              </a:lnSpc>
            </a:pPr>
            <a:r>
              <a:rPr lang="de-DE" sz="1400" spc="-40" dirty="0"/>
              <a:t>Voraussetzung: Verfügbarkeit von kleinräumigen Potenzial- und Angebotsdaten,  GIS- oder/und Verkehrsmodell</a:t>
            </a:r>
          </a:p>
        </p:txBody>
      </p:sp>
    </p:spTree>
    <p:extLst>
      <p:ext uri="{BB962C8B-B14F-4D97-AF65-F5344CB8AC3E}">
        <p14:creationId xmlns:p14="http://schemas.microsoft.com/office/powerpoint/2010/main" val="2363758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4" grpId="0"/>
      <p:bldP spid="2" grpId="0"/>
      <p:bldP spid="7" grpId="0"/>
      <p:bldP spid="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C0D9F420-97AA-3119-3642-33A137A3F6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725" y="3708000"/>
            <a:ext cx="6106616" cy="3168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D407B58-709D-D8F4-7F75-C08B14FBA141}"/>
              </a:ext>
            </a:extLst>
          </p:cNvPr>
          <p:cNvSpPr txBox="1"/>
          <p:nvPr/>
        </p:nvSpPr>
        <p:spPr>
          <a:xfrm rot="16200000">
            <a:off x="-384213" y="6213519"/>
            <a:ext cx="995465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de-DE" sz="1000" dirty="0">
                <a:solidFill>
                  <a:schemeClr val="bg1"/>
                </a:solidFill>
              </a:rPr>
              <a:t>© Stadt Münster</a:t>
            </a:r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C80D119B-97B3-463F-94A0-48C5903458A6}"/>
              </a:ext>
            </a:extLst>
          </p:cNvPr>
          <p:cNvSpPr txBox="1">
            <a:spLocks/>
          </p:cNvSpPr>
          <p:nvPr/>
        </p:nvSpPr>
        <p:spPr>
          <a:xfrm>
            <a:off x="1476097" y="1605735"/>
            <a:ext cx="9144000" cy="98733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algn="ctr"/>
            <a:r>
              <a:rPr lang="de-DE" sz="3000" dirty="0"/>
              <a:t>Vielen Dank</a:t>
            </a:r>
          </a:p>
          <a:p>
            <a:pPr algn="ctr"/>
            <a:r>
              <a:rPr lang="de-DE" sz="3000" dirty="0"/>
              <a:t>für Ihre Aufmerksamkeit.</a:t>
            </a:r>
          </a:p>
        </p:txBody>
      </p:sp>
      <p:cxnSp>
        <p:nvCxnSpPr>
          <p:cNvPr id="2" name="Łącznik prosty 6">
            <a:extLst>
              <a:ext uri="{FF2B5EF4-FFF2-40B4-BE49-F238E27FC236}">
                <a16:creationId xmlns:a16="http://schemas.microsoft.com/office/drawing/2014/main" id="{E2AC7CA7-4F2E-2160-16A4-FD95CBFD2826}"/>
              </a:ext>
            </a:extLst>
          </p:cNvPr>
          <p:cNvCxnSpPr>
            <a:cxnSpLocks/>
          </p:cNvCxnSpPr>
          <p:nvPr/>
        </p:nvCxnSpPr>
        <p:spPr>
          <a:xfrm>
            <a:off x="5097189" y="2713851"/>
            <a:ext cx="1898510" cy="0"/>
          </a:xfrm>
          <a:prstGeom prst="line">
            <a:avLst/>
          </a:prstGeom>
          <a:ln w="165100">
            <a:solidFill>
              <a:srgbClr val="FF41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716F8DF3-F9F2-06C0-6EE3-42F4A5F8BB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7981" y="556979"/>
            <a:ext cx="1807224" cy="409396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B025AEA-BE6C-2CDC-A3FE-8C4948463A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3708000"/>
            <a:ext cx="6106615" cy="31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6643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ymbol zastępczy tekstu 24">
            <a:extLst>
              <a:ext uri="{FF2B5EF4-FFF2-40B4-BE49-F238E27FC236}">
                <a16:creationId xmlns:a16="http://schemas.microsoft.com/office/drawing/2014/main" id="{61D66A70-6B10-664D-3DB7-90D19C99EF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3" y="316341"/>
            <a:ext cx="6392184" cy="5710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Mobilstationen – Warum?</a:t>
            </a:r>
            <a:endParaRPr lang="pl-PL" dirty="0"/>
          </a:p>
        </p:txBody>
      </p:sp>
      <p:sp>
        <p:nvSpPr>
          <p:cNvPr id="2" name="Symbol zastępczy tekstu 4">
            <a:extLst>
              <a:ext uri="{FF2B5EF4-FFF2-40B4-BE49-F238E27FC236}">
                <a16:creationId xmlns:a16="http://schemas.microsoft.com/office/drawing/2014/main" id="{469D7D70-E185-AB57-565B-2474C6FCB089}"/>
              </a:ext>
            </a:extLst>
          </p:cNvPr>
          <p:cNvSpPr txBox="1">
            <a:spLocks/>
          </p:cNvSpPr>
          <p:nvPr/>
        </p:nvSpPr>
        <p:spPr>
          <a:xfrm>
            <a:off x="879469" y="2326334"/>
            <a:ext cx="5216531" cy="6503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umwelt-, klima- und flächenschonende Mobilität </a:t>
            </a:r>
            <a:r>
              <a:rPr lang="de-DE" sz="1600" u="sng" dirty="0"/>
              <a:t>ohne eigenen Pkw</a:t>
            </a:r>
            <a:r>
              <a:rPr lang="de-DE" sz="1600" dirty="0"/>
              <a:t> ermöglichen</a:t>
            </a:r>
          </a:p>
          <a:p>
            <a:pPr lvl="1">
              <a:spcBef>
                <a:spcPts val="1800"/>
              </a:spcBef>
            </a:pPr>
            <a:endParaRPr lang="de-DE" dirty="0"/>
          </a:p>
          <a:p>
            <a:pPr lvl="1">
              <a:spcBef>
                <a:spcPts val="1800"/>
              </a:spcBef>
            </a:pPr>
            <a:endParaRPr lang="de-DE" dirty="0"/>
          </a:p>
          <a:p>
            <a:pPr marL="0" indent="0">
              <a:spcBef>
                <a:spcPts val="1800"/>
              </a:spcBef>
              <a:buNone/>
            </a:pPr>
            <a:endParaRPr lang="de-DE" sz="1600" dirty="0"/>
          </a:p>
          <a:p>
            <a:endParaRPr lang="de-DE" sz="1600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C1BFCEE4-991F-CD65-E66C-9A8CA795D844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3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sp>
        <p:nvSpPr>
          <p:cNvPr id="6" name="Symbol zastępczy tekstu 23">
            <a:extLst>
              <a:ext uri="{FF2B5EF4-FFF2-40B4-BE49-F238E27FC236}">
                <a16:creationId xmlns:a16="http://schemas.microsoft.com/office/drawing/2014/main" id="{3272609E-09B9-23AE-8260-99E0FB9A62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0" y="1921921"/>
            <a:ext cx="11464927" cy="374835"/>
          </a:xfrm>
        </p:spPr>
        <p:txBody>
          <a:bodyPr>
            <a:noAutofit/>
          </a:bodyPr>
          <a:lstStyle/>
          <a:p>
            <a:r>
              <a:rPr lang="de-DE" dirty="0"/>
              <a:t>Übergeordnetes Ziel</a:t>
            </a:r>
            <a:endParaRPr lang="pl-PL" dirty="0"/>
          </a:p>
        </p:txBody>
      </p:sp>
      <p:sp>
        <p:nvSpPr>
          <p:cNvPr id="7" name="Symbol zastępczy tekstu 4">
            <a:extLst>
              <a:ext uri="{FF2B5EF4-FFF2-40B4-BE49-F238E27FC236}">
                <a16:creationId xmlns:a16="http://schemas.microsoft.com/office/drawing/2014/main" id="{812BD294-7C94-C595-9958-F103FA28E8BB}"/>
              </a:ext>
            </a:extLst>
          </p:cNvPr>
          <p:cNvSpPr txBox="1">
            <a:spLocks/>
          </p:cNvSpPr>
          <p:nvPr/>
        </p:nvSpPr>
        <p:spPr>
          <a:xfrm>
            <a:off x="879471" y="3626607"/>
            <a:ext cx="5682103" cy="23722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Zugangspunkt zu </a:t>
            </a:r>
            <a:r>
              <a:rPr lang="de-DE" sz="1600" dirty="0">
                <a:sym typeface="Wingdings" panose="05000000000000000000" pitchFamily="2" charset="2"/>
              </a:rPr>
              <a:t>öffentlich verfügbaren </a:t>
            </a:r>
            <a:br>
              <a:rPr lang="de-DE" sz="1600" dirty="0">
                <a:sym typeface="Wingdings" panose="05000000000000000000" pitchFamily="2" charset="2"/>
              </a:rPr>
            </a:br>
            <a:r>
              <a:rPr lang="de-DE" sz="1600" dirty="0">
                <a:sym typeface="Wingdings" panose="05000000000000000000" pitchFamily="2" charset="2"/>
              </a:rPr>
              <a:t>Mobilitätsangeboten (ÖPNV, Sharing-Angebote usw.)</a:t>
            </a:r>
          </a:p>
          <a:p>
            <a:pPr>
              <a:lnSpc>
                <a:spcPct val="130000"/>
              </a:lnSpc>
              <a:spcBef>
                <a:spcPts val="1200"/>
              </a:spcBef>
            </a:pPr>
            <a:r>
              <a:rPr lang="de-DE" sz="1600" dirty="0">
                <a:sym typeface="Wingdings" panose="05000000000000000000" pitchFamily="2" charset="2"/>
              </a:rPr>
              <a:t>Schnittstelle private </a:t>
            </a:r>
            <a:r>
              <a:rPr lang="de-DE" sz="1600" dirty="0">
                <a:sym typeface="Symbol" panose="05050102010706020507" pitchFamily="18" charset="2"/>
              </a:rPr>
              <a:t> </a:t>
            </a:r>
            <a:r>
              <a:rPr lang="de-DE" sz="1600" dirty="0">
                <a:sym typeface="Wingdings" panose="05000000000000000000" pitchFamily="2" charset="2"/>
              </a:rPr>
              <a:t>öffentliche Mobilität</a:t>
            </a:r>
            <a:br>
              <a:rPr lang="de-DE" sz="1600" dirty="0">
                <a:sym typeface="Wingdings" panose="05000000000000000000" pitchFamily="2" charset="2"/>
              </a:rPr>
            </a:br>
            <a:r>
              <a:rPr lang="de-DE" sz="1600" dirty="0">
                <a:sym typeface="Wingdings" panose="05000000000000000000" pitchFamily="2" charset="2"/>
              </a:rPr>
              <a:t>(Bike+Ride, Park+Ride)</a:t>
            </a:r>
            <a:endParaRPr lang="de-DE" sz="1600" dirty="0"/>
          </a:p>
          <a:p>
            <a:pPr>
              <a:spcBef>
                <a:spcPts val="1200"/>
              </a:spcBef>
            </a:pPr>
            <a:r>
              <a:rPr lang="de-DE" sz="1600" dirty="0"/>
              <a:t>multimodale Mobilität erleichtern:</a:t>
            </a:r>
          </a:p>
          <a:p>
            <a:pPr lvl="1">
              <a:spcBef>
                <a:spcPts val="0"/>
              </a:spcBef>
            </a:pPr>
            <a:r>
              <a:rPr lang="de-DE" sz="1400" dirty="0"/>
              <a:t>physische Bündelung der Angebote</a:t>
            </a:r>
          </a:p>
          <a:p>
            <a:pPr lvl="1">
              <a:spcBef>
                <a:spcPts val="0"/>
              </a:spcBef>
            </a:pPr>
            <a:r>
              <a:rPr lang="de-DE" sz="1400" dirty="0"/>
              <a:t>mobilitätsbezogene Services</a:t>
            </a:r>
            <a:endParaRPr lang="de-DE" dirty="0"/>
          </a:p>
          <a:p>
            <a:pPr lvl="1">
              <a:spcBef>
                <a:spcPts val="1800"/>
              </a:spcBef>
            </a:pPr>
            <a:endParaRPr lang="de-DE" dirty="0"/>
          </a:p>
          <a:p>
            <a:pPr>
              <a:spcBef>
                <a:spcPts val="1800"/>
              </a:spcBef>
            </a:pPr>
            <a:endParaRPr lang="de-DE" sz="1600" dirty="0"/>
          </a:p>
          <a:p>
            <a:pPr>
              <a:spcBef>
                <a:spcPts val="1800"/>
              </a:spcBef>
            </a:pPr>
            <a:endParaRPr lang="de-DE" sz="1600" dirty="0"/>
          </a:p>
          <a:p>
            <a:endParaRPr lang="de-DE" sz="1600" dirty="0"/>
          </a:p>
        </p:txBody>
      </p:sp>
      <p:sp>
        <p:nvSpPr>
          <p:cNvPr id="8" name="Symbol zastępczy tekstu 23">
            <a:extLst>
              <a:ext uri="{FF2B5EF4-FFF2-40B4-BE49-F238E27FC236}">
                <a16:creationId xmlns:a16="http://schemas.microsoft.com/office/drawing/2014/main" id="{A5E96487-A860-EE1C-56A3-8CE6BCD4107C}"/>
              </a:ext>
            </a:extLst>
          </p:cNvPr>
          <p:cNvSpPr txBox="1">
            <a:spLocks/>
          </p:cNvSpPr>
          <p:nvPr/>
        </p:nvSpPr>
        <p:spPr>
          <a:xfrm>
            <a:off x="720000" y="3204042"/>
            <a:ext cx="7946664" cy="3748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ts val="2008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i="0" kern="1200" baseline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unktion von Mobilstationen</a:t>
            </a:r>
            <a:endParaRPr lang="pl-PL" dirty="0"/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01069061-BFA2-6863-2666-C8A0650089E3}"/>
              </a:ext>
            </a:extLst>
          </p:cNvPr>
          <p:cNvSpPr txBox="1"/>
          <p:nvPr/>
        </p:nvSpPr>
        <p:spPr>
          <a:xfrm>
            <a:off x="869421" y="6122363"/>
            <a:ext cx="6662401" cy="338554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de-DE" sz="1600" b="1" dirty="0">
                <a:sym typeface="Wingdings" panose="05000000000000000000" pitchFamily="2" charset="2"/>
              </a:rPr>
              <a:t> … bestimmt die angestrebte </a:t>
            </a:r>
            <a:r>
              <a:rPr lang="de-DE" sz="1600" b="1" dirty="0"/>
              <a:t>Ausstattung der Mobilstationen</a:t>
            </a: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91C43174-EC11-E543-FD36-A30903F7F55A}"/>
              </a:ext>
            </a:extLst>
          </p:cNvPr>
          <p:cNvGrpSpPr>
            <a:grpSpLocks noChangeAspect="1"/>
          </p:cNvGrpSpPr>
          <p:nvPr/>
        </p:nvGrpSpPr>
        <p:grpSpPr>
          <a:xfrm>
            <a:off x="8236364" y="2296756"/>
            <a:ext cx="3446534" cy="3523207"/>
            <a:chOff x="7090852" y="174586"/>
            <a:chExt cx="2686049" cy="2745804"/>
          </a:xfrm>
        </p:grpSpPr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F371B7E4-7770-82EF-08F2-8A4D6FB11139}"/>
                </a:ext>
              </a:extLst>
            </p:cNvPr>
            <p:cNvGrpSpPr/>
            <p:nvPr/>
          </p:nvGrpSpPr>
          <p:grpSpPr>
            <a:xfrm>
              <a:off x="7090852" y="174586"/>
              <a:ext cx="2686049" cy="2745804"/>
              <a:chOff x="3779605" y="1346138"/>
              <a:chExt cx="2686049" cy="2745804"/>
            </a:xfrm>
          </p:grpSpPr>
          <p:sp>
            <p:nvSpPr>
              <p:cNvPr id="107" name="Ellipse 106">
                <a:extLst>
                  <a:ext uri="{FF2B5EF4-FFF2-40B4-BE49-F238E27FC236}">
                    <a16:creationId xmlns:a16="http://schemas.microsoft.com/office/drawing/2014/main" id="{A1B7A899-4CA6-DAC2-4FA9-FC7F303E690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779605" y="1562138"/>
                <a:ext cx="2686049" cy="2529804"/>
              </a:xfrm>
              <a:prstGeom prst="ellipse">
                <a:avLst/>
              </a:prstGeom>
              <a:noFill/>
              <a:ln w="6985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8" name="Rechteck 107">
                <a:extLst>
                  <a:ext uri="{FF2B5EF4-FFF2-40B4-BE49-F238E27FC236}">
                    <a16:creationId xmlns:a16="http://schemas.microsoft.com/office/drawing/2014/main" id="{7612B573-C82A-A88C-96CD-B71647204200}"/>
                  </a:ext>
                </a:extLst>
              </p:cNvPr>
              <p:cNvSpPr/>
              <p:nvPr/>
            </p:nvSpPr>
            <p:spPr>
              <a:xfrm rot="19225211">
                <a:off x="5692431" y="3787969"/>
                <a:ext cx="371217" cy="19491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9" name="Rechteck 108">
                <a:extLst>
                  <a:ext uri="{FF2B5EF4-FFF2-40B4-BE49-F238E27FC236}">
                    <a16:creationId xmlns:a16="http://schemas.microsoft.com/office/drawing/2014/main" id="{0286579F-B17C-5D24-EAC3-07A8AD0499E3}"/>
                  </a:ext>
                </a:extLst>
              </p:cNvPr>
              <p:cNvSpPr/>
              <p:nvPr/>
            </p:nvSpPr>
            <p:spPr>
              <a:xfrm rot="4384186">
                <a:off x="3702283" y="3075566"/>
                <a:ext cx="371217" cy="19491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0" name="Ellipse 109">
                <a:extLst>
                  <a:ext uri="{FF2B5EF4-FFF2-40B4-BE49-F238E27FC236}">
                    <a16:creationId xmlns:a16="http://schemas.microsoft.com/office/drawing/2014/main" id="{2C2DB7D4-ADD5-F2C0-B823-763BBABFCF5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801112" y="3351033"/>
                <a:ext cx="432000" cy="432000"/>
              </a:xfrm>
              <a:prstGeom prst="ellipse">
                <a:avLst/>
              </a:prstGeom>
              <a:solidFill>
                <a:schemeClr val="bg1"/>
              </a:solidFill>
              <a:ln w="6985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1" name="Ellipse 110">
                <a:extLst>
                  <a:ext uri="{FF2B5EF4-FFF2-40B4-BE49-F238E27FC236}">
                    <a16:creationId xmlns:a16="http://schemas.microsoft.com/office/drawing/2014/main" id="{F2DF332E-3694-604E-2F85-56C43D36DB6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965913" y="3365864"/>
                <a:ext cx="432000" cy="432000"/>
              </a:xfrm>
              <a:prstGeom prst="ellipse">
                <a:avLst/>
              </a:prstGeom>
              <a:solidFill>
                <a:schemeClr val="bg1"/>
              </a:solidFill>
              <a:ln w="6350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2" name="Rechteck 111">
                <a:extLst>
                  <a:ext uri="{FF2B5EF4-FFF2-40B4-BE49-F238E27FC236}">
                    <a16:creationId xmlns:a16="http://schemas.microsoft.com/office/drawing/2014/main" id="{6E7F0EB8-71BE-343E-F252-62EECF9B7A23}"/>
                  </a:ext>
                </a:extLst>
              </p:cNvPr>
              <p:cNvSpPr/>
              <p:nvPr/>
            </p:nvSpPr>
            <p:spPr>
              <a:xfrm rot="729884">
                <a:off x="5363565" y="1529621"/>
                <a:ext cx="371217" cy="19491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3" name="Ellipse 112">
                <a:extLst>
                  <a:ext uri="{FF2B5EF4-FFF2-40B4-BE49-F238E27FC236}">
                    <a16:creationId xmlns:a16="http://schemas.microsoft.com/office/drawing/2014/main" id="{A5E828D3-2716-837E-0DA0-F4043E0EB1E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906629" y="1346138"/>
                <a:ext cx="432000" cy="432000"/>
              </a:xfrm>
              <a:prstGeom prst="ellipse">
                <a:avLst/>
              </a:prstGeom>
              <a:solidFill>
                <a:schemeClr val="bg1"/>
              </a:solidFill>
              <a:ln w="69850">
                <a:solidFill>
                  <a:schemeClr val="tx1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pic>
          <p:nvPicPr>
            <p:cNvPr id="66" name="Grafik 65">
              <a:extLst>
                <a:ext uri="{FF2B5EF4-FFF2-40B4-BE49-F238E27FC236}">
                  <a16:creationId xmlns:a16="http://schemas.microsoft.com/office/drawing/2014/main" id="{CAFAC79F-3D32-8F66-E2F3-A43475FC1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40971" y="1440000"/>
              <a:ext cx="482167" cy="480403"/>
            </a:xfrm>
            <a:prstGeom prst="rect">
              <a:avLst/>
            </a:prstGeom>
            <a:effectLst/>
          </p:spPr>
        </p:pic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2C8901B1-E3D3-7E96-DDE0-720CB59CCD65}"/>
                </a:ext>
              </a:extLst>
            </p:cNvPr>
            <p:cNvGrpSpPr/>
            <p:nvPr/>
          </p:nvGrpSpPr>
          <p:grpSpPr>
            <a:xfrm>
              <a:off x="8202305" y="1740240"/>
              <a:ext cx="476884" cy="476526"/>
              <a:chOff x="5325852" y="718419"/>
              <a:chExt cx="816798" cy="816185"/>
            </a:xfrm>
          </p:grpSpPr>
          <p:sp>
            <p:nvSpPr>
              <p:cNvPr id="105" name="Rechteck: abgerundete Ecken 104">
                <a:extLst>
                  <a:ext uri="{FF2B5EF4-FFF2-40B4-BE49-F238E27FC236}">
                    <a16:creationId xmlns:a16="http://schemas.microsoft.com/office/drawing/2014/main" id="{CD12D102-A68D-3362-D5C7-395C2029DC9A}"/>
                  </a:ext>
                </a:extLst>
              </p:cNvPr>
              <p:cNvSpPr/>
              <p:nvPr/>
            </p:nvSpPr>
            <p:spPr>
              <a:xfrm>
                <a:off x="5325852" y="718419"/>
                <a:ext cx="816798" cy="816185"/>
              </a:xfrm>
              <a:prstGeom prst="roundRect">
                <a:avLst>
                  <a:gd name="adj" fmla="val 9616"/>
                </a:avLst>
              </a:prstGeom>
              <a:solidFill>
                <a:srgbClr val="CADD1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06" name="Grafik 105" descr="Zug mit einfarbiger Füllung">
                <a:extLst>
                  <a:ext uri="{FF2B5EF4-FFF2-40B4-BE49-F238E27FC236}">
                    <a16:creationId xmlns:a16="http://schemas.microsoft.com/office/drawing/2014/main" id="{17B32CEB-0504-DBAA-7E2F-8FE5CD7A6F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394784" y="821445"/>
                <a:ext cx="684000" cy="684000"/>
              </a:xfrm>
              <a:prstGeom prst="rect">
                <a:avLst/>
              </a:prstGeom>
            </p:spPr>
          </p:pic>
        </p:grpSp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B290869C-8239-69F3-A5D3-89B48AB52677}"/>
                </a:ext>
              </a:extLst>
            </p:cNvPr>
            <p:cNvGrpSpPr/>
            <p:nvPr/>
          </p:nvGrpSpPr>
          <p:grpSpPr>
            <a:xfrm>
              <a:off x="8722138" y="1440000"/>
              <a:ext cx="476884" cy="476526"/>
              <a:chOff x="5301446" y="1617208"/>
              <a:chExt cx="816798" cy="816185"/>
            </a:xfrm>
          </p:grpSpPr>
          <p:sp>
            <p:nvSpPr>
              <p:cNvPr id="103" name="Rechteck: abgerundete Ecken 102">
                <a:extLst>
                  <a:ext uri="{FF2B5EF4-FFF2-40B4-BE49-F238E27FC236}">
                    <a16:creationId xmlns:a16="http://schemas.microsoft.com/office/drawing/2014/main" id="{B8EE9202-2EAF-6DAF-E1A6-73993B6B17D4}"/>
                  </a:ext>
                </a:extLst>
              </p:cNvPr>
              <p:cNvSpPr/>
              <p:nvPr/>
            </p:nvSpPr>
            <p:spPr>
              <a:xfrm>
                <a:off x="5301446" y="1617208"/>
                <a:ext cx="816798" cy="816185"/>
              </a:xfrm>
              <a:prstGeom prst="roundRect">
                <a:avLst>
                  <a:gd name="adj" fmla="val 9616"/>
                </a:avLst>
              </a:prstGeom>
              <a:solidFill>
                <a:srgbClr val="CADD1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04" name="Grafik 103" descr="Bus mit einfarbiger Füllung">
                <a:extLst>
                  <a:ext uri="{FF2B5EF4-FFF2-40B4-BE49-F238E27FC236}">
                    <a16:creationId xmlns:a16="http://schemas.microsoft.com/office/drawing/2014/main" id="{717A15D9-2E7F-8A37-5B41-873B9DA041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378766" y="1704904"/>
                <a:ext cx="684000" cy="684000"/>
              </a:xfrm>
              <a:prstGeom prst="rect">
                <a:avLst/>
              </a:prstGeom>
            </p:spPr>
          </p:pic>
        </p:grpSp>
        <p:grpSp>
          <p:nvGrpSpPr>
            <p:cNvPr id="69" name="Gruppieren 68">
              <a:extLst>
                <a:ext uri="{FF2B5EF4-FFF2-40B4-BE49-F238E27FC236}">
                  <a16:creationId xmlns:a16="http://schemas.microsoft.com/office/drawing/2014/main" id="{C5DCB775-34E8-C9FC-869C-E618E9596808}"/>
                </a:ext>
              </a:extLst>
            </p:cNvPr>
            <p:cNvGrpSpPr/>
            <p:nvPr/>
          </p:nvGrpSpPr>
          <p:grpSpPr>
            <a:xfrm>
              <a:off x="7689070" y="1955242"/>
              <a:ext cx="476884" cy="476526"/>
              <a:chOff x="7205400" y="1618198"/>
              <a:chExt cx="816798" cy="816185"/>
            </a:xfrm>
          </p:grpSpPr>
          <p:sp>
            <p:nvSpPr>
              <p:cNvPr id="101" name="Rechteck: abgerundete Ecken 100">
                <a:extLst>
                  <a:ext uri="{FF2B5EF4-FFF2-40B4-BE49-F238E27FC236}">
                    <a16:creationId xmlns:a16="http://schemas.microsoft.com/office/drawing/2014/main" id="{0A3D17C0-B158-6AFB-500C-5D3CC2C4B0A1}"/>
                  </a:ext>
                </a:extLst>
              </p:cNvPr>
              <p:cNvSpPr/>
              <p:nvPr/>
            </p:nvSpPr>
            <p:spPr>
              <a:xfrm>
                <a:off x="7205400" y="1618198"/>
                <a:ext cx="816798" cy="816185"/>
              </a:xfrm>
              <a:prstGeom prst="roundRect">
                <a:avLst>
                  <a:gd name="adj" fmla="val 9616"/>
                </a:avLst>
              </a:prstGeom>
              <a:solidFill>
                <a:srgbClr val="CADD1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102" name="Grafik 101">
                <a:extLst>
                  <a:ext uri="{FF2B5EF4-FFF2-40B4-BE49-F238E27FC236}">
                    <a16:creationId xmlns:a16="http://schemas.microsoft.com/office/drawing/2014/main" id="{DEFC487A-3F49-1EBE-378F-22A04E5CC6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371765" y="1674214"/>
                <a:ext cx="518785" cy="622542"/>
              </a:xfrm>
              <a:prstGeom prst="rect">
                <a:avLst/>
              </a:prstGeom>
            </p:spPr>
          </p:pic>
        </p:grpSp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99F6FE5F-CCF3-ADA4-C5DE-04902BF124F2}"/>
                </a:ext>
              </a:extLst>
            </p:cNvPr>
            <p:cNvGrpSpPr/>
            <p:nvPr/>
          </p:nvGrpSpPr>
          <p:grpSpPr>
            <a:xfrm>
              <a:off x="7162564" y="1440000"/>
              <a:ext cx="476884" cy="476526"/>
              <a:chOff x="6213905" y="1623184"/>
              <a:chExt cx="816798" cy="816185"/>
            </a:xfrm>
          </p:grpSpPr>
          <p:grpSp>
            <p:nvGrpSpPr>
              <p:cNvPr id="97" name="Gruppieren 96">
                <a:extLst>
                  <a:ext uri="{FF2B5EF4-FFF2-40B4-BE49-F238E27FC236}">
                    <a16:creationId xmlns:a16="http://schemas.microsoft.com/office/drawing/2014/main" id="{5213281E-16F7-F559-21AB-71EB48FC5592}"/>
                  </a:ext>
                </a:extLst>
              </p:cNvPr>
              <p:cNvGrpSpPr/>
              <p:nvPr/>
            </p:nvGrpSpPr>
            <p:grpSpPr>
              <a:xfrm>
                <a:off x="6213905" y="1623184"/>
                <a:ext cx="816798" cy="816185"/>
                <a:chOff x="6213905" y="1623184"/>
                <a:chExt cx="816798" cy="816185"/>
              </a:xfrm>
            </p:grpSpPr>
            <p:sp>
              <p:nvSpPr>
                <p:cNvPr id="99" name="Rechteck: abgerundete Ecken 98">
                  <a:extLst>
                    <a:ext uri="{FF2B5EF4-FFF2-40B4-BE49-F238E27FC236}">
                      <a16:creationId xmlns:a16="http://schemas.microsoft.com/office/drawing/2014/main" id="{02714D46-5893-9B00-82B7-297C331622BD}"/>
                    </a:ext>
                  </a:extLst>
                </p:cNvPr>
                <p:cNvSpPr/>
                <p:nvPr/>
              </p:nvSpPr>
              <p:spPr>
                <a:xfrm>
                  <a:off x="6213905" y="1623184"/>
                  <a:ext cx="816798" cy="816185"/>
                </a:xfrm>
                <a:prstGeom prst="roundRect">
                  <a:avLst>
                    <a:gd name="adj" fmla="val 9616"/>
                  </a:avLst>
                </a:prstGeom>
                <a:solidFill>
                  <a:srgbClr val="CADD13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pic>
              <p:nvPicPr>
                <p:cNvPr id="100" name="Grafik 99" descr="Roller mit einfarbiger Füllung">
                  <a:extLst>
                    <a:ext uri="{FF2B5EF4-FFF2-40B4-BE49-F238E27FC236}">
                      <a16:creationId xmlns:a16="http://schemas.microsoft.com/office/drawing/2014/main" id="{6BFCCCAB-9879-985E-A815-589AAFCF4F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80304" y="1750383"/>
                  <a:ext cx="684000" cy="684000"/>
                </a:xfrm>
                <a:prstGeom prst="rect">
                  <a:avLst/>
                </a:prstGeom>
              </p:spPr>
            </p:pic>
          </p:grpSp>
          <p:pic>
            <p:nvPicPr>
              <p:cNvPr id="98" name="Grafik 97">
                <a:extLst>
                  <a:ext uri="{FF2B5EF4-FFF2-40B4-BE49-F238E27FC236}">
                    <a16:creationId xmlns:a16="http://schemas.microsoft.com/office/drawing/2014/main" id="{3AE4CA2D-A366-67C1-F633-0872F49312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422679" y="1694115"/>
                <a:ext cx="438287" cy="207906"/>
              </a:xfrm>
              <a:prstGeom prst="rect">
                <a:avLst/>
              </a:prstGeom>
            </p:spPr>
          </p:pic>
        </p:grpSp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8EBEE606-F1AF-EC4F-81C2-A1A644B45B25}"/>
                </a:ext>
              </a:extLst>
            </p:cNvPr>
            <p:cNvGrpSpPr/>
            <p:nvPr/>
          </p:nvGrpSpPr>
          <p:grpSpPr>
            <a:xfrm>
              <a:off x="8743007" y="1954379"/>
              <a:ext cx="476884" cy="480403"/>
              <a:chOff x="9757339" y="3530890"/>
              <a:chExt cx="816798" cy="822826"/>
            </a:xfrm>
          </p:grpSpPr>
          <p:pic>
            <p:nvPicPr>
              <p:cNvPr id="95" name="Grafik 94">
                <a:extLst>
                  <a:ext uri="{FF2B5EF4-FFF2-40B4-BE49-F238E27FC236}">
                    <a16:creationId xmlns:a16="http://schemas.microsoft.com/office/drawing/2014/main" id="{65B04D01-F17F-EC8E-7585-92826EBAD9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9757339" y="3530890"/>
                <a:ext cx="816798" cy="822826"/>
              </a:xfrm>
              <a:prstGeom prst="rect">
                <a:avLst/>
              </a:prstGeom>
            </p:spPr>
          </p:pic>
          <p:pic>
            <p:nvPicPr>
              <p:cNvPr id="96" name="Grafik 95">
                <a:extLst>
                  <a:ext uri="{FF2B5EF4-FFF2-40B4-BE49-F238E27FC236}">
                    <a16:creationId xmlns:a16="http://schemas.microsoft.com/office/drawing/2014/main" id="{C7CA2FCC-9E2E-96D8-C6CA-C614EBA691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9972110" y="3626607"/>
                <a:ext cx="385539" cy="182884"/>
              </a:xfrm>
              <a:prstGeom prst="rect">
                <a:avLst/>
              </a:prstGeom>
            </p:spPr>
          </p:pic>
        </p:grpSp>
        <p:grpSp>
          <p:nvGrpSpPr>
            <p:cNvPr id="72" name="Gruppieren 71">
              <a:extLst>
                <a:ext uri="{FF2B5EF4-FFF2-40B4-BE49-F238E27FC236}">
                  <a16:creationId xmlns:a16="http://schemas.microsoft.com/office/drawing/2014/main" id="{0D9E72BD-957A-5F8C-F058-0AF5FF0B4C57}"/>
                </a:ext>
              </a:extLst>
            </p:cNvPr>
            <p:cNvGrpSpPr/>
            <p:nvPr/>
          </p:nvGrpSpPr>
          <p:grpSpPr>
            <a:xfrm>
              <a:off x="8191541" y="1213077"/>
              <a:ext cx="476884" cy="476526"/>
              <a:chOff x="1560470" y="2458436"/>
              <a:chExt cx="816798" cy="816185"/>
            </a:xfrm>
          </p:grpSpPr>
          <p:sp>
            <p:nvSpPr>
              <p:cNvPr id="93" name="Rechteck: abgerundete Ecken 92">
                <a:extLst>
                  <a:ext uri="{FF2B5EF4-FFF2-40B4-BE49-F238E27FC236}">
                    <a16:creationId xmlns:a16="http://schemas.microsoft.com/office/drawing/2014/main" id="{FD5E9CD7-AC23-13F1-997D-75E7D6B340B8}"/>
                  </a:ext>
                </a:extLst>
              </p:cNvPr>
              <p:cNvSpPr/>
              <p:nvPr/>
            </p:nvSpPr>
            <p:spPr>
              <a:xfrm>
                <a:off x="1560470" y="2458436"/>
                <a:ext cx="816798" cy="816185"/>
              </a:xfrm>
              <a:prstGeom prst="roundRect">
                <a:avLst>
                  <a:gd name="adj" fmla="val 9616"/>
                </a:avLst>
              </a:prstGeom>
              <a:solidFill>
                <a:srgbClr val="CADD1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94" name="Grafik 93" descr="Straßenbahnwagen mit einfarbiger Füllung">
                <a:extLst>
                  <a:ext uri="{FF2B5EF4-FFF2-40B4-BE49-F238E27FC236}">
                    <a16:creationId xmlns:a16="http://schemas.microsoft.com/office/drawing/2014/main" id="{F0F1D1BB-1F25-F4E5-8D05-307862F487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1626869" y="2524528"/>
                <a:ext cx="684000" cy="684000"/>
              </a:xfrm>
              <a:prstGeom prst="rect">
                <a:avLst/>
              </a:prstGeom>
            </p:spPr>
          </p:pic>
        </p:grp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56796C62-BF52-37D9-5000-11E7C22753C2}"/>
                </a:ext>
              </a:extLst>
            </p:cNvPr>
            <p:cNvGrpSpPr/>
            <p:nvPr/>
          </p:nvGrpSpPr>
          <p:grpSpPr>
            <a:xfrm>
              <a:off x="8714239" y="922074"/>
              <a:ext cx="476884" cy="476526"/>
              <a:chOff x="7661081" y="2931474"/>
              <a:chExt cx="816798" cy="816185"/>
            </a:xfrm>
          </p:grpSpPr>
          <p:sp>
            <p:nvSpPr>
              <p:cNvPr id="91" name="Rechteck: abgerundete Ecken 90">
                <a:extLst>
                  <a:ext uri="{FF2B5EF4-FFF2-40B4-BE49-F238E27FC236}">
                    <a16:creationId xmlns:a16="http://schemas.microsoft.com/office/drawing/2014/main" id="{65F6217C-61B3-B405-A82A-F69290CAAC4B}"/>
                  </a:ext>
                </a:extLst>
              </p:cNvPr>
              <p:cNvSpPr/>
              <p:nvPr/>
            </p:nvSpPr>
            <p:spPr>
              <a:xfrm>
                <a:off x="7661081" y="2931474"/>
                <a:ext cx="816798" cy="816185"/>
              </a:xfrm>
              <a:prstGeom prst="roundRect">
                <a:avLst>
                  <a:gd name="adj" fmla="val 9616"/>
                </a:avLst>
              </a:prstGeom>
              <a:solidFill>
                <a:srgbClr val="CADD1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92" name="Grafik 91" descr="Elektroauto mit einfarbiger Füllung">
                <a:extLst>
                  <a:ext uri="{FF2B5EF4-FFF2-40B4-BE49-F238E27FC236}">
                    <a16:creationId xmlns:a16="http://schemas.microsoft.com/office/drawing/2014/main" id="{298EB400-320E-4F8F-162D-7983939256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7727480" y="2997566"/>
                <a:ext cx="684000" cy="684000"/>
              </a:xfrm>
              <a:prstGeom prst="rect">
                <a:avLst/>
              </a:prstGeom>
            </p:spPr>
          </p:pic>
        </p:grpSp>
        <p:grpSp>
          <p:nvGrpSpPr>
            <p:cNvPr id="74" name="Gruppieren 73">
              <a:extLst>
                <a:ext uri="{FF2B5EF4-FFF2-40B4-BE49-F238E27FC236}">
                  <a16:creationId xmlns:a16="http://schemas.microsoft.com/office/drawing/2014/main" id="{CEDA0737-2E69-7250-17B5-1A9420E34467}"/>
                </a:ext>
              </a:extLst>
            </p:cNvPr>
            <p:cNvGrpSpPr/>
            <p:nvPr/>
          </p:nvGrpSpPr>
          <p:grpSpPr>
            <a:xfrm>
              <a:off x="8198588" y="686360"/>
              <a:ext cx="476884" cy="476526"/>
              <a:chOff x="4444854" y="4708677"/>
              <a:chExt cx="816798" cy="816185"/>
            </a:xfrm>
          </p:grpSpPr>
          <p:sp>
            <p:nvSpPr>
              <p:cNvPr id="89" name="Rechteck: abgerundete Ecken 88">
                <a:extLst>
                  <a:ext uri="{FF2B5EF4-FFF2-40B4-BE49-F238E27FC236}">
                    <a16:creationId xmlns:a16="http://schemas.microsoft.com/office/drawing/2014/main" id="{1CAC6A73-F8F8-2C76-18FE-B3A7241E19FF}"/>
                  </a:ext>
                </a:extLst>
              </p:cNvPr>
              <p:cNvSpPr/>
              <p:nvPr/>
            </p:nvSpPr>
            <p:spPr>
              <a:xfrm>
                <a:off x="4444854" y="4708677"/>
                <a:ext cx="816798" cy="816185"/>
              </a:xfrm>
              <a:prstGeom prst="roundRect">
                <a:avLst>
                  <a:gd name="adj" fmla="val 9616"/>
                </a:avLst>
              </a:prstGeom>
              <a:solidFill>
                <a:srgbClr val="CADD1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90" name="Grafik 89" descr="Taxi mit einfarbiger Füllung">
                <a:extLst>
                  <a:ext uri="{FF2B5EF4-FFF2-40B4-BE49-F238E27FC236}">
                    <a16:creationId xmlns:a16="http://schemas.microsoft.com/office/drawing/2014/main" id="{421D5F8B-09E0-4298-591A-806C955810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4520981" y="4791366"/>
                <a:ext cx="684000" cy="684000"/>
              </a:xfrm>
              <a:prstGeom prst="rect">
                <a:avLst/>
              </a:prstGeom>
            </p:spPr>
          </p:pic>
        </p:grpSp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A66DDC89-5DE0-7507-E75E-792961D2A30B}"/>
                </a:ext>
              </a:extLst>
            </p:cNvPr>
            <p:cNvGrpSpPr/>
            <p:nvPr/>
          </p:nvGrpSpPr>
          <p:grpSpPr>
            <a:xfrm>
              <a:off x="7668000" y="1440000"/>
              <a:ext cx="510949" cy="496934"/>
              <a:chOff x="4585893" y="5221410"/>
              <a:chExt cx="875145" cy="851139"/>
            </a:xfrm>
          </p:grpSpPr>
          <p:sp>
            <p:nvSpPr>
              <p:cNvPr id="83" name="Rechteck: abgerundete Ecken 82">
                <a:extLst>
                  <a:ext uri="{FF2B5EF4-FFF2-40B4-BE49-F238E27FC236}">
                    <a16:creationId xmlns:a16="http://schemas.microsoft.com/office/drawing/2014/main" id="{6A0E5BDB-6598-415C-0443-B6CE3A646791}"/>
                  </a:ext>
                </a:extLst>
              </p:cNvPr>
              <p:cNvSpPr/>
              <p:nvPr/>
            </p:nvSpPr>
            <p:spPr>
              <a:xfrm>
                <a:off x="4605242" y="5221410"/>
                <a:ext cx="816798" cy="816185"/>
              </a:xfrm>
              <a:prstGeom prst="roundRect">
                <a:avLst>
                  <a:gd name="adj" fmla="val 9616"/>
                </a:avLst>
              </a:prstGeom>
              <a:solidFill>
                <a:srgbClr val="CADD1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84" name="Grafik 83" descr="Drahtlosrouter mit einfarbiger Füllung">
                <a:extLst>
                  <a:ext uri="{FF2B5EF4-FFF2-40B4-BE49-F238E27FC236}">
                    <a16:creationId xmlns:a16="http://schemas.microsoft.com/office/drawing/2014/main" id="{8BF97B3C-F5D7-5668-026E-B19ABE114B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4893837" y="5239802"/>
                <a:ext cx="518475" cy="518475"/>
              </a:xfrm>
              <a:prstGeom prst="rect">
                <a:avLst/>
              </a:prstGeom>
            </p:spPr>
          </p:pic>
          <p:pic>
            <p:nvPicPr>
              <p:cNvPr id="85" name="Grafik 84" descr="Markierung mit einfarbiger Füllung">
                <a:extLst>
                  <a:ext uri="{FF2B5EF4-FFF2-40B4-BE49-F238E27FC236}">
                    <a16:creationId xmlns:a16="http://schemas.microsoft.com/office/drawing/2014/main" id="{1072463C-3BAB-6F70-D2D8-980003402E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4585893" y="5392551"/>
                <a:ext cx="452355" cy="452355"/>
              </a:xfrm>
              <a:prstGeom prst="rect">
                <a:avLst/>
              </a:prstGeom>
            </p:spPr>
          </p:pic>
          <p:sp>
            <p:nvSpPr>
              <p:cNvPr id="86" name="Rechteck 85">
                <a:extLst>
                  <a:ext uri="{FF2B5EF4-FFF2-40B4-BE49-F238E27FC236}">
                    <a16:creationId xmlns:a16="http://schemas.microsoft.com/office/drawing/2014/main" id="{8B4E3F02-9113-B05E-5814-89849A259487}"/>
                  </a:ext>
                </a:extLst>
              </p:cNvPr>
              <p:cNvSpPr/>
              <p:nvPr/>
            </p:nvSpPr>
            <p:spPr>
              <a:xfrm>
                <a:off x="4923021" y="5552618"/>
                <a:ext cx="452355" cy="242821"/>
              </a:xfrm>
              <a:prstGeom prst="rect">
                <a:avLst/>
              </a:prstGeom>
              <a:solidFill>
                <a:srgbClr val="CADD1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87" name="Grafik 86" descr="Taxi mit einfarbiger Füllung">
                <a:extLst>
                  <a:ext uri="{FF2B5EF4-FFF2-40B4-BE49-F238E27FC236}">
                    <a16:creationId xmlns:a16="http://schemas.microsoft.com/office/drawing/2014/main" id="{7B5D6364-A223-01E4-2A6F-DF88BD78D0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4837358" y="5448869"/>
                <a:ext cx="623680" cy="623680"/>
              </a:xfrm>
              <a:prstGeom prst="rect">
                <a:avLst/>
              </a:prstGeom>
            </p:spPr>
          </p:pic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5A0B4202-53B9-FC36-A807-C59149118C94}"/>
                  </a:ext>
                </a:extLst>
              </p:cNvPr>
              <p:cNvSpPr/>
              <p:nvPr/>
            </p:nvSpPr>
            <p:spPr>
              <a:xfrm>
                <a:off x="5084349" y="5550978"/>
                <a:ext cx="135203" cy="45719"/>
              </a:xfrm>
              <a:prstGeom prst="rect">
                <a:avLst/>
              </a:prstGeom>
              <a:solidFill>
                <a:srgbClr val="CADD1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76" name="Gruppieren 75">
              <a:extLst>
                <a:ext uri="{FF2B5EF4-FFF2-40B4-BE49-F238E27FC236}">
                  <a16:creationId xmlns:a16="http://schemas.microsoft.com/office/drawing/2014/main" id="{1935A515-ADBE-58D7-2426-2139855D2EA8}"/>
                </a:ext>
              </a:extLst>
            </p:cNvPr>
            <p:cNvGrpSpPr/>
            <p:nvPr/>
          </p:nvGrpSpPr>
          <p:grpSpPr>
            <a:xfrm>
              <a:off x="7679267" y="916158"/>
              <a:ext cx="476885" cy="476526"/>
              <a:chOff x="6747918" y="5550979"/>
              <a:chExt cx="816798" cy="816185"/>
            </a:xfrm>
          </p:grpSpPr>
          <p:sp>
            <p:nvSpPr>
              <p:cNvPr id="81" name="Rechteck: abgerundete Ecken 80">
                <a:extLst>
                  <a:ext uri="{FF2B5EF4-FFF2-40B4-BE49-F238E27FC236}">
                    <a16:creationId xmlns:a16="http://schemas.microsoft.com/office/drawing/2014/main" id="{608C938C-B335-578D-6BB0-AD2D20286B49}"/>
                  </a:ext>
                </a:extLst>
              </p:cNvPr>
              <p:cNvSpPr/>
              <p:nvPr/>
            </p:nvSpPr>
            <p:spPr>
              <a:xfrm>
                <a:off x="6747918" y="5550979"/>
                <a:ext cx="816798" cy="816185"/>
              </a:xfrm>
              <a:prstGeom prst="roundRect">
                <a:avLst>
                  <a:gd name="adj" fmla="val 9616"/>
                </a:avLst>
              </a:prstGeom>
              <a:solidFill>
                <a:srgbClr val="CADD1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82" name="Grafik 81" descr="Ein Bild, das Schwarz, Dunkelheit enthält.&#10;&#10;Automatisch generierte Beschreibung">
                <a:extLst>
                  <a:ext uri="{FF2B5EF4-FFF2-40B4-BE49-F238E27FC236}">
                    <a16:creationId xmlns:a16="http://schemas.microsoft.com/office/drawing/2014/main" id="{BB20F865-34F7-3728-3C0D-B5A2EF595C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6814317" y="5706559"/>
                <a:ext cx="684000" cy="505021"/>
              </a:xfrm>
              <a:prstGeom prst="rect">
                <a:avLst/>
              </a:prstGeom>
            </p:spPr>
          </p:pic>
        </p:grpSp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A16CC5A3-6E10-F9B7-499B-B46DAF3E473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18671" y="2260312"/>
              <a:ext cx="475557" cy="475200"/>
              <a:chOff x="1600466" y="5080346"/>
              <a:chExt cx="816799" cy="816185"/>
            </a:xfrm>
          </p:grpSpPr>
          <p:sp>
            <p:nvSpPr>
              <p:cNvPr id="78" name="Rechteck: abgerundete Ecken 77">
                <a:extLst>
                  <a:ext uri="{FF2B5EF4-FFF2-40B4-BE49-F238E27FC236}">
                    <a16:creationId xmlns:a16="http://schemas.microsoft.com/office/drawing/2014/main" id="{2CBCB1FB-8DE5-9BCE-58E5-07B5C8025A78}"/>
                  </a:ext>
                </a:extLst>
              </p:cNvPr>
              <p:cNvSpPr/>
              <p:nvPr/>
            </p:nvSpPr>
            <p:spPr>
              <a:xfrm>
                <a:off x="1600466" y="5080346"/>
                <a:ext cx="816799" cy="816185"/>
              </a:xfrm>
              <a:prstGeom prst="roundRect">
                <a:avLst>
                  <a:gd name="adj" fmla="val 9616"/>
                </a:avLst>
              </a:prstGeom>
              <a:solidFill>
                <a:srgbClr val="CADD1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pic>
            <p:nvPicPr>
              <p:cNvPr id="79" name="Grafik 78" descr="Ein Bild, das Schwarz, Dunkelheit enthält.&#10;&#10;Automatisch generierte Beschreibung">
                <a:extLst>
                  <a:ext uri="{FF2B5EF4-FFF2-40B4-BE49-F238E27FC236}">
                    <a16:creationId xmlns:a16="http://schemas.microsoft.com/office/drawing/2014/main" id="{087C89A1-2707-1836-8617-4D109F7F5D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26679" y="5439546"/>
                <a:ext cx="753489" cy="324000"/>
              </a:xfrm>
              <a:prstGeom prst="rect">
                <a:avLst/>
              </a:prstGeom>
              <a:noFill/>
            </p:spPr>
          </p:pic>
          <p:pic>
            <p:nvPicPr>
              <p:cNvPr id="80" name="Grafik 79">
                <a:extLst>
                  <a:ext uri="{FF2B5EF4-FFF2-40B4-BE49-F238E27FC236}">
                    <a16:creationId xmlns:a16="http://schemas.microsoft.com/office/drawing/2014/main" id="{458A8FCD-D370-2F3B-CC2C-08DA0A4BEB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784279" y="5163623"/>
                <a:ext cx="438287" cy="207906"/>
              </a:xfrm>
              <a:prstGeom prst="rect">
                <a:avLst/>
              </a:prstGeom>
            </p:spPr>
          </p:pic>
        </p:grp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A2256365-B0B8-1CD8-2583-4544DA11DF3B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307234" y="2289211"/>
            <a:ext cx="1808220" cy="83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453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5C7CD64C-6B38-A983-5C05-DA3995A6C4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2154" y="2580006"/>
            <a:ext cx="5176914" cy="2277276"/>
          </a:xfrm>
          <a:prstGeom prst="rect">
            <a:avLst/>
          </a:prstGeom>
        </p:spPr>
      </p:pic>
      <p:sp>
        <p:nvSpPr>
          <p:cNvPr id="25" name="Symbol zastępczy tekstu 24">
            <a:extLst>
              <a:ext uri="{FF2B5EF4-FFF2-40B4-BE49-F238E27FC236}">
                <a16:creationId xmlns:a16="http://schemas.microsoft.com/office/drawing/2014/main" id="{61D66A70-6B10-664D-3DB7-90D19C99EF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2" y="316341"/>
            <a:ext cx="8603539" cy="5710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Mobilstationen – Warum?</a:t>
            </a:r>
          </a:p>
        </p:txBody>
      </p:sp>
      <p:sp>
        <p:nvSpPr>
          <p:cNvPr id="2" name="Symbol zastępczy tekstu 4">
            <a:extLst>
              <a:ext uri="{FF2B5EF4-FFF2-40B4-BE49-F238E27FC236}">
                <a16:creationId xmlns:a16="http://schemas.microsoft.com/office/drawing/2014/main" id="{469D7D70-E185-AB57-565B-2474C6FCB089}"/>
              </a:ext>
            </a:extLst>
          </p:cNvPr>
          <p:cNvSpPr txBox="1">
            <a:spLocks/>
          </p:cNvSpPr>
          <p:nvPr/>
        </p:nvSpPr>
        <p:spPr>
          <a:xfrm>
            <a:off x="879471" y="2987039"/>
            <a:ext cx="5862684" cy="33484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F4E85F7-2E87-DCD7-C7CD-C492628AC99B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4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sp>
        <p:nvSpPr>
          <p:cNvPr id="4" name="Symbol zastępczy tekstu 4">
            <a:extLst>
              <a:ext uri="{FF2B5EF4-FFF2-40B4-BE49-F238E27FC236}">
                <a16:creationId xmlns:a16="http://schemas.microsoft.com/office/drawing/2014/main" id="{8CCCE83F-2C84-FCE9-99A1-A61F375432B9}"/>
              </a:ext>
            </a:extLst>
          </p:cNvPr>
          <p:cNvSpPr txBox="1">
            <a:spLocks/>
          </p:cNvSpPr>
          <p:nvPr/>
        </p:nvSpPr>
        <p:spPr>
          <a:xfrm>
            <a:off x="784609" y="2609560"/>
            <a:ext cx="5957544" cy="19282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600" dirty="0"/>
              <a:t>Mobilstationskonzept – Teil A:</a:t>
            </a:r>
            <a:r>
              <a:rPr lang="de-DE" sz="1600" b="1" i="0" u="none" strike="noStrike" baseline="0" dirty="0">
                <a:solidFill>
                  <a:srgbClr val="000000"/>
                </a:solidFill>
                <a:latin typeface="Tahoma" panose="020B0604030504040204" pitchFamily="34" charset="0"/>
              </a:rPr>
              <a:t> </a:t>
            </a:r>
            <a:r>
              <a:rPr lang="de-DE" sz="1600" i="0" u="none" strike="noStrike" baseline="0" dirty="0">
                <a:solidFill>
                  <a:srgbClr val="000000"/>
                </a:solidFill>
                <a:latin typeface="Tahoma" panose="020B0604030504040204" pitchFamily="34" charset="0"/>
              </a:rPr>
              <a:t>Qualitätsstandards</a:t>
            </a:r>
          </a:p>
          <a:p>
            <a:pPr algn="l"/>
            <a:r>
              <a:rPr lang="de-DE" sz="1600" dirty="0">
                <a:solidFill>
                  <a:srgbClr val="000000"/>
                </a:solidFill>
                <a:latin typeface="Tahoma" panose="020B0604030504040204" pitchFamily="34" charset="0"/>
              </a:rPr>
              <a:t>3 Größenklassen mit unterschiedlichen Funktionen</a:t>
            </a:r>
            <a:br>
              <a:rPr lang="de-DE" sz="1600" dirty="0">
                <a:solidFill>
                  <a:srgbClr val="000000"/>
                </a:solidFill>
                <a:latin typeface="Tahoma" panose="020B0604030504040204" pitchFamily="34" charset="0"/>
              </a:rPr>
            </a:br>
            <a:r>
              <a:rPr lang="de-DE" sz="1600" dirty="0">
                <a:solidFill>
                  <a:srgbClr val="000000"/>
                </a:solidFill>
                <a:latin typeface="Tahoma" panose="020B0604030504040204" pitchFamily="34" charset="0"/>
              </a:rPr>
              <a:t>und Ausstattungszielen (Mobilität, Service, Info)</a:t>
            </a:r>
          </a:p>
          <a:p>
            <a:r>
              <a:rPr lang="de-DE" sz="1600" dirty="0">
                <a:solidFill>
                  <a:srgbClr val="000000"/>
                </a:solidFill>
                <a:latin typeface="Tahoma" panose="020B0604030504040204" pitchFamily="34" charset="0"/>
              </a:rPr>
              <a:t>zwingende, alternative und optionale Ausstattungsmodule</a:t>
            </a:r>
          </a:p>
          <a:p>
            <a:r>
              <a:rPr lang="de-DE" sz="1600" dirty="0">
                <a:solidFill>
                  <a:srgbClr val="000000"/>
                </a:solidFill>
                <a:latin typeface="Tahoma" panose="020B0604030504040204" pitchFamily="34" charset="0"/>
              </a:rPr>
              <a:t>begründete Abweichungen sind möglich</a:t>
            </a:r>
          </a:p>
          <a:p>
            <a:pPr algn="l"/>
            <a:endParaRPr lang="de-DE" sz="1600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6770BE9-E885-7341-18F7-4C3E828A814B}"/>
              </a:ext>
            </a:extLst>
          </p:cNvPr>
          <p:cNvGrpSpPr/>
          <p:nvPr/>
        </p:nvGrpSpPr>
        <p:grpSpPr>
          <a:xfrm>
            <a:off x="10154585" y="-22230"/>
            <a:ext cx="2047461" cy="1934434"/>
            <a:chOff x="10154585" y="-22230"/>
            <a:chExt cx="2047461" cy="1934434"/>
          </a:xfrm>
        </p:grpSpPr>
        <p:sp>
          <p:nvSpPr>
            <p:cNvPr id="8" name="Prostokąt z zaokrąglonym rogiem 3">
              <a:extLst>
                <a:ext uri="{FF2B5EF4-FFF2-40B4-BE49-F238E27FC236}">
                  <a16:creationId xmlns:a16="http://schemas.microsoft.com/office/drawing/2014/main" id="{29BEA76E-EF39-17D2-7770-3B76DCB72C79}"/>
                </a:ext>
              </a:extLst>
            </p:cNvPr>
            <p:cNvSpPr/>
            <p:nvPr/>
          </p:nvSpPr>
          <p:spPr>
            <a:xfrm rot="10800000">
              <a:off x="10154585" y="-22230"/>
              <a:ext cx="2047461" cy="1934434"/>
            </a:xfrm>
            <a:prstGeom prst="round1Rect">
              <a:avLst>
                <a:gd name="adj" fmla="val 43142"/>
              </a:avLst>
            </a:prstGeom>
            <a:solidFill>
              <a:srgbClr val="8AEEBC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87412CC4-2163-54EA-094B-135C562BFB6E}"/>
                </a:ext>
              </a:extLst>
            </p:cNvPr>
            <p:cNvSpPr/>
            <p:nvPr/>
          </p:nvSpPr>
          <p:spPr>
            <a:xfrm>
              <a:off x="10314369" y="455489"/>
              <a:ext cx="1727892" cy="663453"/>
            </a:xfrm>
            <a:prstGeom prst="roundRect">
              <a:avLst>
                <a:gd name="adj" fmla="val 846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DE" i="1" dirty="0">
                  <a:solidFill>
                    <a:schemeClr val="tx1"/>
                  </a:solidFill>
                </a:rPr>
                <a:t>Beispiel:</a:t>
              </a:r>
              <a:br>
                <a:rPr lang="de-DE" i="1" dirty="0">
                  <a:solidFill>
                    <a:schemeClr val="tx1"/>
                  </a:solidFill>
                </a:rPr>
              </a:br>
              <a:r>
                <a:rPr lang="de-DE" i="1" dirty="0">
                  <a:solidFill>
                    <a:schemeClr val="tx1"/>
                  </a:solidFill>
                </a:rPr>
                <a:t>Stadt Münster</a:t>
              </a:r>
            </a:p>
          </p:txBody>
        </p:sp>
      </p:grpSp>
      <p:sp>
        <p:nvSpPr>
          <p:cNvPr id="12" name="Textfeld 11">
            <a:extLst>
              <a:ext uri="{FF2B5EF4-FFF2-40B4-BE49-F238E27FC236}">
                <a16:creationId xmlns:a16="http://schemas.microsoft.com/office/drawing/2014/main" id="{203584A8-8054-426C-6027-8C44AAE77512}"/>
              </a:ext>
            </a:extLst>
          </p:cNvPr>
          <p:cNvSpPr txBox="1"/>
          <p:nvPr/>
        </p:nvSpPr>
        <p:spPr>
          <a:xfrm>
            <a:off x="727072" y="1913052"/>
            <a:ext cx="114649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/>
              <a:t>Kategorisierung und Ausstattung von Mobilstationen</a:t>
            </a: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8E83540-914A-CA53-CF62-6BE6A36145F7}"/>
              </a:ext>
            </a:extLst>
          </p:cNvPr>
          <p:cNvSpPr txBox="1"/>
          <p:nvPr/>
        </p:nvSpPr>
        <p:spPr>
          <a:xfrm>
            <a:off x="879470" y="5136099"/>
            <a:ext cx="6106121" cy="83099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wrap="square" lIns="91440" tIns="45720" rIns="91440" bIns="45720" rtlCol="0">
            <a:spAutoFit/>
          </a:bodyPr>
          <a:lstStyle/>
          <a:p>
            <a:pPr algn="l"/>
            <a:r>
              <a:rPr lang="de-DE" sz="1600" i="1" dirty="0"/>
              <a:t>ZNM-Handbuch-Mobilstationen NRW (2022): </a:t>
            </a:r>
            <a:br>
              <a:rPr lang="de-DE" sz="1600" i="1" dirty="0"/>
            </a:br>
            <a:r>
              <a:rPr lang="de-DE" sz="1600" i="1" dirty="0"/>
              <a:t>NEU: </a:t>
            </a:r>
            <a:r>
              <a:rPr lang="de-DE" sz="1600" dirty="0"/>
              <a:t>3 Stationskategorien im städtischen Raum (SZ, SP, Q),</a:t>
            </a:r>
            <a:br>
              <a:rPr lang="de-DE" sz="1600" dirty="0"/>
            </a:br>
            <a:r>
              <a:rPr lang="de-DE" sz="1600" dirty="0"/>
              <a:t>Unterscheidung nach Lage und Vernetzungsgrad  </a:t>
            </a:r>
          </a:p>
        </p:txBody>
      </p:sp>
    </p:spTree>
    <p:extLst>
      <p:ext uri="{BB962C8B-B14F-4D97-AF65-F5344CB8AC3E}">
        <p14:creationId xmlns:p14="http://schemas.microsoft.com/office/powerpoint/2010/main" val="26821620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>
            <a:extLst>
              <a:ext uri="{FF2B5EF4-FFF2-40B4-BE49-F238E27FC236}">
                <a16:creationId xmlns:a16="http://schemas.microsoft.com/office/drawing/2014/main" id="{50CB56F1-7A83-CC48-401C-363FFD9C0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1372" y="2212457"/>
            <a:ext cx="5476777" cy="2503796"/>
          </a:xfrm>
        </p:spPr>
        <p:txBody>
          <a:bodyPr/>
          <a:lstStyle/>
          <a:p>
            <a:pPr>
              <a:lnSpc>
                <a:spcPts val="5800"/>
              </a:lnSpc>
              <a:spcBef>
                <a:spcPts val="2400"/>
              </a:spcBef>
            </a:pPr>
            <a:r>
              <a:rPr lang="de-DE" dirty="0"/>
              <a:t>Mobilstationen –</a:t>
            </a:r>
            <a:br>
              <a:rPr lang="de-DE" dirty="0"/>
            </a:br>
            <a:r>
              <a:rPr lang="de-DE" sz="4800" b="1" dirty="0"/>
              <a:t>Wie viele?</a:t>
            </a:r>
            <a:endParaRPr lang="pl-PL" b="1" dirty="0"/>
          </a:p>
        </p:txBody>
      </p:sp>
      <p:sp>
        <p:nvSpPr>
          <p:cNvPr id="2" name="Symbol zastępczy tekstu 42">
            <a:extLst>
              <a:ext uri="{FF2B5EF4-FFF2-40B4-BE49-F238E27FC236}">
                <a16:creationId xmlns:a16="http://schemas.microsoft.com/office/drawing/2014/main" id="{F86D028B-82D7-4051-99F7-19987D8F7985}"/>
              </a:ext>
            </a:extLst>
          </p:cNvPr>
          <p:cNvSpPr txBox="1">
            <a:spLocks/>
          </p:cNvSpPr>
          <p:nvPr/>
        </p:nvSpPr>
        <p:spPr>
          <a:xfrm>
            <a:off x="650474" y="1981169"/>
            <a:ext cx="3855660" cy="289566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5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b="0" dirty="0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0</a:t>
            </a:r>
            <a:r>
              <a:rPr lang="de-DE" b="0" dirty="0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2</a:t>
            </a:r>
            <a:endParaRPr lang="pl-PL" b="0" dirty="0">
              <a:latin typeface="Noto Sans Light" panose="020B0402040504020204" pitchFamily="34" charset="0"/>
              <a:ea typeface="Noto Sans Light" panose="020B0402040504020204" pitchFamily="34" charset="0"/>
              <a:cs typeface="Noto Sans Light" panose="020B04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8337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ymbol zastępczy tekstu 4">
            <a:extLst>
              <a:ext uri="{FF2B5EF4-FFF2-40B4-BE49-F238E27FC236}">
                <a16:creationId xmlns:a16="http://schemas.microsoft.com/office/drawing/2014/main" id="{AEAD6C26-8F3E-45EA-0E91-9A5641478B54}"/>
              </a:ext>
            </a:extLst>
          </p:cNvPr>
          <p:cNvSpPr txBox="1">
            <a:spLocks/>
          </p:cNvSpPr>
          <p:nvPr/>
        </p:nvSpPr>
        <p:spPr>
          <a:xfrm>
            <a:off x="809131" y="4588611"/>
            <a:ext cx="10947440" cy="6322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de-DE" sz="1600" b="1" dirty="0"/>
              <a:t>Wie weit soll es bis zur nächsten Mobilstation höchstens sein?</a:t>
            </a:r>
            <a:br>
              <a:rPr lang="de-DE" sz="1600" b="1" dirty="0"/>
            </a:br>
            <a:r>
              <a:rPr lang="de-DE" sz="1600" i="1" dirty="0"/>
              <a:t>z. B. maximaler Zeitaufwand zu Fuß, mit dem eigenen Fahrrad, mit dem eigenen Pkw …</a:t>
            </a:r>
          </a:p>
        </p:txBody>
      </p:sp>
      <p:sp>
        <p:nvSpPr>
          <p:cNvPr id="24" name="Symbol zastępczy tekstu 23">
            <a:extLst>
              <a:ext uri="{FF2B5EF4-FFF2-40B4-BE49-F238E27FC236}">
                <a16:creationId xmlns:a16="http://schemas.microsoft.com/office/drawing/2014/main" id="{E7944D8E-C5CF-6AFA-ECB6-DA7B722DF5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7072" y="1917198"/>
            <a:ext cx="11464927" cy="374835"/>
          </a:xfrm>
        </p:spPr>
        <p:txBody>
          <a:bodyPr>
            <a:noAutofit/>
          </a:bodyPr>
          <a:lstStyle/>
          <a:p>
            <a:r>
              <a:rPr lang="de-DE" dirty="0"/>
              <a:t>Zentrale Fragen mit Einfluss auf Anzahl und räumliche Verteilung der Mobilstationen</a:t>
            </a:r>
            <a:endParaRPr lang="pl-PL" dirty="0"/>
          </a:p>
        </p:txBody>
      </p:sp>
      <p:sp>
        <p:nvSpPr>
          <p:cNvPr id="25" name="Symbol zastępczy tekstu 24">
            <a:extLst>
              <a:ext uri="{FF2B5EF4-FFF2-40B4-BE49-F238E27FC236}">
                <a16:creationId xmlns:a16="http://schemas.microsoft.com/office/drawing/2014/main" id="{61D66A70-6B10-664D-3DB7-90D19C99EF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3" y="316341"/>
            <a:ext cx="6392184" cy="5710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Mobilstationen – Wie viele?</a:t>
            </a:r>
            <a:endParaRPr lang="pl-PL" dirty="0"/>
          </a:p>
        </p:txBody>
      </p:sp>
      <p:sp>
        <p:nvSpPr>
          <p:cNvPr id="2" name="Symbol zastępczy tekstu 4">
            <a:extLst>
              <a:ext uri="{FF2B5EF4-FFF2-40B4-BE49-F238E27FC236}">
                <a16:creationId xmlns:a16="http://schemas.microsoft.com/office/drawing/2014/main" id="{469D7D70-E185-AB57-565B-2474C6FCB089}"/>
              </a:ext>
            </a:extLst>
          </p:cNvPr>
          <p:cNvSpPr txBox="1">
            <a:spLocks/>
          </p:cNvSpPr>
          <p:nvPr/>
        </p:nvSpPr>
        <p:spPr>
          <a:xfrm>
            <a:off x="809131" y="2382466"/>
            <a:ext cx="10947440" cy="6322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de-DE" sz="1600" b="1" dirty="0"/>
              <a:t>Welche Zielgruppen?</a:t>
            </a:r>
            <a:br>
              <a:rPr lang="de-DE" sz="1600" i="1" dirty="0"/>
            </a:br>
            <a:r>
              <a:rPr lang="de-DE" sz="1600" i="1" dirty="0"/>
              <a:t>z. B. Bürger*innen, Einpendler, Gäste und Besuchende, …</a:t>
            </a:r>
            <a:endParaRPr lang="de-DE" sz="1600" b="1" i="1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C1BFCEE4-991F-CD65-E66C-9A8CA795D844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6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sp>
        <p:nvSpPr>
          <p:cNvPr id="6" name="Symbol zastępczy tekstu 4">
            <a:extLst>
              <a:ext uri="{FF2B5EF4-FFF2-40B4-BE49-F238E27FC236}">
                <a16:creationId xmlns:a16="http://schemas.microsoft.com/office/drawing/2014/main" id="{B384FEA7-216A-CC3E-E7D4-42FFED951AB2}"/>
              </a:ext>
            </a:extLst>
          </p:cNvPr>
          <p:cNvSpPr txBox="1">
            <a:spLocks/>
          </p:cNvSpPr>
          <p:nvPr/>
        </p:nvSpPr>
        <p:spPr>
          <a:xfrm>
            <a:off x="809131" y="3120839"/>
            <a:ext cx="10264153" cy="6322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de-DE" sz="1600" b="1" dirty="0"/>
              <a:t>Wo sollen die Zielgruppen erreicht werden?</a:t>
            </a:r>
            <a:br>
              <a:rPr lang="de-DE" sz="1600" dirty="0">
                <a:solidFill>
                  <a:srgbClr val="FF0000"/>
                </a:solidFill>
              </a:rPr>
            </a:br>
            <a:r>
              <a:rPr lang="de-DE" sz="1600" i="1" dirty="0"/>
              <a:t>z. B. verkehrsstarke Kernstadt, zentrale Verkehrsknoten, Einfallstraßen am Stadtrand, flächendeckend, …</a:t>
            </a:r>
          </a:p>
        </p:txBody>
      </p:sp>
      <p:sp>
        <p:nvSpPr>
          <p:cNvPr id="8" name="Symbol zastępczy tekstu 4">
            <a:extLst>
              <a:ext uri="{FF2B5EF4-FFF2-40B4-BE49-F238E27FC236}">
                <a16:creationId xmlns:a16="http://schemas.microsoft.com/office/drawing/2014/main" id="{B67E9906-DDBD-075C-7036-0DCE2F7D3D11}"/>
              </a:ext>
            </a:extLst>
          </p:cNvPr>
          <p:cNvSpPr txBox="1">
            <a:spLocks/>
          </p:cNvSpPr>
          <p:nvPr/>
        </p:nvSpPr>
        <p:spPr>
          <a:xfrm>
            <a:off x="809130" y="3824939"/>
            <a:ext cx="11258939" cy="6322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de-DE" sz="1600" b="1" dirty="0"/>
              <a:t>Angebots- oder marktorientierte Ausstattung der Mobilstationen?</a:t>
            </a:r>
            <a:br>
              <a:rPr lang="de-DE" sz="1600" i="1" dirty="0">
                <a:solidFill>
                  <a:srgbClr val="FF0000"/>
                </a:solidFill>
              </a:rPr>
            </a:br>
            <a:r>
              <a:rPr lang="de-DE" sz="1600" i="1" dirty="0"/>
              <a:t>u. a. Umgang mit üblicherweise eigenwirtschaftlich betriebenen Mobilitätsangeboten (z. B. Sharing-Angebote)</a:t>
            </a:r>
            <a:endParaRPr lang="de-DE" sz="1600" b="1" i="1" dirty="0"/>
          </a:p>
        </p:txBody>
      </p:sp>
      <p:sp>
        <p:nvSpPr>
          <p:cNvPr id="9" name="Symbol zastępczy tekstu 4">
            <a:extLst>
              <a:ext uri="{FF2B5EF4-FFF2-40B4-BE49-F238E27FC236}">
                <a16:creationId xmlns:a16="http://schemas.microsoft.com/office/drawing/2014/main" id="{8FB94273-8E9E-1BDC-0DEF-60D86482B5CF}"/>
              </a:ext>
            </a:extLst>
          </p:cNvPr>
          <p:cNvSpPr txBox="1">
            <a:spLocks/>
          </p:cNvSpPr>
          <p:nvPr/>
        </p:nvSpPr>
        <p:spPr>
          <a:xfrm>
            <a:off x="810805" y="5406015"/>
            <a:ext cx="10262479" cy="584775"/>
          </a:xfrm>
          <a:prstGeom prst="rect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91440" tIns="45720" rIns="91440" bIns="45720" rtlCol="0">
            <a:spAutoFit/>
          </a:bodyPr>
          <a:lstStyle>
            <a:defPPr>
              <a:defRPr lang="pl-PL"/>
            </a:defPPr>
            <a:lvl1pPr>
              <a:defRPr sz="1600" b="1"/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271463" algn="l"/>
              </a:tabLst>
            </a:pP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Beantwortung der Fragen ist maßgebend für Erreichbarkeitsstandards von Mobilstationen </a:t>
            </a:r>
            <a:br>
              <a:rPr lang="de-DE" dirty="0"/>
            </a:br>
            <a:r>
              <a:rPr lang="de-DE" dirty="0"/>
              <a:t>	und die maximalen Entfernungen zwischen den Stationsstandorten</a:t>
            </a:r>
          </a:p>
        </p:txBody>
      </p:sp>
    </p:spTree>
    <p:extLst>
      <p:ext uri="{BB962C8B-B14F-4D97-AF65-F5344CB8AC3E}">
        <p14:creationId xmlns:p14="http://schemas.microsoft.com/office/powerpoint/2010/main" val="35941669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" grpId="0"/>
      <p:bldP spid="6" grpId="0"/>
      <p:bldP spid="8" grpId="0"/>
      <p:bldP spid="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3CE8CD5-5176-A04D-D0E2-C45AF69577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3575" y="2775417"/>
            <a:ext cx="7748686" cy="2929462"/>
          </a:xfrm>
          <a:prstGeom prst="rect">
            <a:avLst/>
          </a:prstGeom>
        </p:spPr>
      </p:pic>
      <p:sp>
        <p:nvSpPr>
          <p:cNvPr id="24" name="Symbol zastępczy tekstu 23">
            <a:extLst>
              <a:ext uri="{FF2B5EF4-FFF2-40B4-BE49-F238E27FC236}">
                <a16:creationId xmlns:a16="http://schemas.microsoft.com/office/drawing/2014/main" id="{E7944D8E-C5CF-6AFA-ECB6-DA7B722DF5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7073" y="2027504"/>
            <a:ext cx="9161206" cy="374835"/>
          </a:xfrm>
        </p:spPr>
        <p:txBody>
          <a:bodyPr>
            <a:noAutofit/>
          </a:bodyPr>
          <a:lstStyle/>
          <a:p>
            <a:r>
              <a:rPr lang="de-DE" dirty="0"/>
              <a:t>Grundsätze und Orientierungswerte für die Ausstattung mit Mobilstationen</a:t>
            </a:r>
          </a:p>
        </p:txBody>
      </p:sp>
      <p:sp>
        <p:nvSpPr>
          <p:cNvPr id="25" name="Symbol zastępczy tekstu 24">
            <a:extLst>
              <a:ext uri="{FF2B5EF4-FFF2-40B4-BE49-F238E27FC236}">
                <a16:creationId xmlns:a16="http://schemas.microsoft.com/office/drawing/2014/main" id="{61D66A70-6B10-664D-3DB7-90D19C99EF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3" y="316341"/>
            <a:ext cx="6401515" cy="5710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Mobilstationen – Wie viele?</a:t>
            </a:r>
            <a:endParaRPr lang="pl-PL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6C68AD6-CBD1-CA4A-5513-A608F3D50265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7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C6510ED4-F7E3-F9BE-CC46-0115DF0E1ACD}"/>
              </a:ext>
            </a:extLst>
          </p:cNvPr>
          <p:cNvGrpSpPr/>
          <p:nvPr/>
        </p:nvGrpSpPr>
        <p:grpSpPr>
          <a:xfrm>
            <a:off x="10154585" y="-22230"/>
            <a:ext cx="2047461" cy="1934434"/>
            <a:chOff x="10154585" y="-22230"/>
            <a:chExt cx="2047461" cy="1934434"/>
          </a:xfrm>
        </p:grpSpPr>
        <p:sp>
          <p:nvSpPr>
            <p:cNvPr id="7" name="Prostokąt z zaokrąglonym rogiem 3">
              <a:extLst>
                <a:ext uri="{FF2B5EF4-FFF2-40B4-BE49-F238E27FC236}">
                  <a16:creationId xmlns:a16="http://schemas.microsoft.com/office/drawing/2014/main" id="{5EB10985-4262-3B39-3375-E5B0A1237CE5}"/>
                </a:ext>
              </a:extLst>
            </p:cNvPr>
            <p:cNvSpPr/>
            <p:nvPr/>
          </p:nvSpPr>
          <p:spPr>
            <a:xfrm rot="10800000">
              <a:off x="10154585" y="-22230"/>
              <a:ext cx="2047461" cy="1934434"/>
            </a:xfrm>
            <a:prstGeom prst="round1Rect">
              <a:avLst>
                <a:gd name="adj" fmla="val 43142"/>
              </a:avLst>
            </a:prstGeom>
            <a:solidFill>
              <a:srgbClr val="8AEEBC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8" name="Rechteck: abgerundete Ecken 7">
              <a:extLst>
                <a:ext uri="{FF2B5EF4-FFF2-40B4-BE49-F238E27FC236}">
                  <a16:creationId xmlns:a16="http://schemas.microsoft.com/office/drawing/2014/main" id="{CCF13661-35BD-ED78-693F-F210DDE535FD}"/>
                </a:ext>
              </a:extLst>
            </p:cNvPr>
            <p:cNvSpPr/>
            <p:nvPr/>
          </p:nvSpPr>
          <p:spPr>
            <a:xfrm>
              <a:off x="10314369" y="455489"/>
              <a:ext cx="1727892" cy="663453"/>
            </a:xfrm>
            <a:prstGeom prst="roundRect">
              <a:avLst>
                <a:gd name="adj" fmla="val 846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DE" i="1" dirty="0">
                  <a:solidFill>
                    <a:schemeClr val="tx1"/>
                  </a:solidFill>
                </a:rPr>
                <a:t>Beispiel:</a:t>
              </a:r>
              <a:br>
                <a:rPr lang="de-DE" i="1" dirty="0">
                  <a:solidFill>
                    <a:schemeClr val="tx1"/>
                  </a:solidFill>
                </a:rPr>
              </a:br>
              <a:r>
                <a:rPr lang="de-DE" i="1" dirty="0">
                  <a:solidFill>
                    <a:schemeClr val="tx1"/>
                  </a:solidFill>
                </a:rPr>
                <a:t>Stadt Münster</a:t>
              </a:r>
            </a:p>
          </p:txBody>
        </p:sp>
      </p:grpSp>
      <p:sp>
        <p:nvSpPr>
          <p:cNvPr id="2" name="Symbol zastępczy tekstu 4">
            <a:extLst>
              <a:ext uri="{FF2B5EF4-FFF2-40B4-BE49-F238E27FC236}">
                <a16:creationId xmlns:a16="http://schemas.microsoft.com/office/drawing/2014/main" id="{F1B55F34-1659-865B-4962-9CD6CDA25F6A}"/>
              </a:ext>
            </a:extLst>
          </p:cNvPr>
          <p:cNvSpPr txBox="1">
            <a:spLocks/>
          </p:cNvSpPr>
          <p:nvPr/>
        </p:nvSpPr>
        <p:spPr>
          <a:xfrm>
            <a:off x="504000" y="3130217"/>
            <a:ext cx="2987192" cy="4121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Bef>
                <a:spcPts val="1200"/>
              </a:spcBef>
              <a:buNone/>
            </a:pPr>
            <a:r>
              <a:rPr lang="de-DE" sz="1400" b="1" dirty="0"/>
              <a:t>Welche Zielgruppen und wo?</a:t>
            </a:r>
            <a:br>
              <a:rPr lang="de-DE" sz="1400" i="1" dirty="0"/>
            </a:br>
            <a:r>
              <a:rPr lang="de-DE" sz="1400" i="1" dirty="0">
                <a:sym typeface="Wingdings" panose="05000000000000000000" pitchFamily="2" charset="2"/>
              </a:rPr>
              <a:t> alle, </a:t>
            </a:r>
            <a:r>
              <a:rPr lang="de-DE" sz="1400" i="1" dirty="0"/>
              <a:t>flächendeckend</a:t>
            </a:r>
            <a:endParaRPr lang="de-DE" sz="1400" b="1" i="1" dirty="0"/>
          </a:p>
        </p:txBody>
      </p:sp>
      <p:sp>
        <p:nvSpPr>
          <p:cNvPr id="4" name="Symbol zastępczy tekstu 4">
            <a:extLst>
              <a:ext uri="{FF2B5EF4-FFF2-40B4-BE49-F238E27FC236}">
                <a16:creationId xmlns:a16="http://schemas.microsoft.com/office/drawing/2014/main" id="{EC67AD4B-3872-119D-F984-BF3517B188D5}"/>
              </a:ext>
            </a:extLst>
          </p:cNvPr>
          <p:cNvSpPr txBox="1">
            <a:spLocks/>
          </p:cNvSpPr>
          <p:nvPr/>
        </p:nvSpPr>
        <p:spPr>
          <a:xfrm>
            <a:off x="504000" y="3667576"/>
            <a:ext cx="3693492" cy="4121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Bef>
                <a:spcPts val="1200"/>
              </a:spcBef>
              <a:buNone/>
            </a:pPr>
            <a:r>
              <a:rPr lang="de-DE" sz="1400" b="1" spc="-100" dirty="0"/>
              <a:t>Angebots- vs. marktorientierte Ausstattung ?</a:t>
            </a:r>
            <a:br>
              <a:rPr lang="de-DE" sz="1400" i="1" spc="-100" dirty="0"/>
            </a:br>
            <a:r>
              <a:rPr lang="de-DE" sz="1400" i="1" dirty="0">
                <a:sym typeface="Wingdings" panose="05000000000000000000" pitchFamily="2" charset="2"/>
              </a:rPr>
              <a:t> angebotsorientiert (Daseinsvorsorge)</a:t>
            </a:r>
            <a:endParaRPr lang="de-DE" sz="1400" b="1" i="1" dirty="0"/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59C79EF2-BFC8-554B-F7D9-2690FCB63C53}"/>
              </a:ext>
            </a:extLst>
          </p:cNvPr>
          <p:cNvSpPr txBox="1">
            <a:spLocks/>
          </p:cNvSpPr>
          <p:nvPr/>
        </p:nvSpPr>
        <p:spPr>
          <a:xfrm>
            <a:off x="504000" y="4298431"/>
            <a:ext cx="3489390" cy="7289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Bef>
                <a:spcPts val="1200"/>
              </a:spcBef>
              <a:buNone/>
              <a:tabLst>
                <a:tab pos="271463" algn="l"/>
              </a:tabLst>
            </a:pPr>
            <a:r>
              <a:rPr lang="de-DE" sz="1400" b="1" dirty="0"/>
              <a:t>Maximale Entfernung?</a:t>
            </a:r>
            <a:br>
              <a:rPr lang="de-DE" sz="1400" i="1" dirty="0"/>
            </a:br>
            <a:r>
              <a:rPr lang="de-DE" sz="1400" i="1" dirty="0">
                <a:sym typeface="Wingdings" panose="05000000000000000000" pitchFamily="2" charset="2"/>
              </a:rPr>
              <a:t> angelehnt an Erreichbarkeitsstandard</a:t>
            </a:r>
            <a:br>
              <a:rPr lang="de-DE" sz="1400" i="1" dirty="0">
                <a:sym typeface="Wingdings" panose="05000000000000000000" pitchFamily="2" charset="2"/>
              </a:rPr>
            </a:br>
            <a:r>
              <a:rPr lang="de-DE" sz="1400" i="1" dirty="0">
                <a:sym typeface="Wingdings" panose="05000000000000000000" pitchFamily="2" charset="2"/>
              </a:rPr>
              <a:t>	von ÖV-Haltestellen </a:t>
            </a:r>
            <a:endParaRPr lang="de-DE" sz="1400" b="1" i="1" dirty="0"/>
          </a:p>
        </p:txBody>
      </p:sp>
      <p:sp>
        <p:nvSpPr>
          <p:cNvPr id="13" name="Gleichschenkliges Dreieck 12">
            <a:extLst>
              <a:ext uri="{FF2B5EF4-FFF2-40B4-BE49-F238E27FC236}">
                <a16:creationId xmlns:a16="http://schemas.microsoft.com/office/drawing/2014/main" id="{D20A6646-F982-FF2D-BECC-CBA412E7469E}"/>
              </a:ext>
            </a:extLst>
          </p:cNvPr>
          <p:cNvSpPr/>
          <p:nvPr/>
        </p:nvSpPr>
        <p:spPr>
          <a:xfrm rot="5400000">
            <a:off x="3961910" y="3278956"/>
            <a:ext cx="477475" cy="180000"/>
          </a:xfrm>
          <a:prstGeom prst="triangle">
            <a:avLst/>
          </a:prstGeom>
          <a:solidFill>
            <a:schemeClr val="bg2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Gleichschenkliges Dreieck 13">
            <a:extLst>
              <a:ext uri="{FF2B5EF4-FFF2-40B4-BE49-F238E27FC236}">
                <a16:creationId xmlns:a16="http://schemas.microsoft.com/office/drawing/2014/main" id="{44069E60-DB8D-A6B8-B32F-733A255BD850}"/>
              </a:ext>
            </a:extLst>
          </p:cNvPr>
          <p:cNvSpPr/>
          <p:nvPr/>
        </p:nvSpPr>
        <p:spPr>
          <a:xfrm rot="5400000">
            <a:off x="3961909" y="3776856"/>
            <a:ext cx="477475" cy="180000"/>
          </a:xfrm>
          <a:prstGeom prst="triangle">
            <a:avLst/>
          </a:prstGeom>
          <a:solidFill>
            <a:schemeClr val="bg2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leichschenkliges Dreieck 14">
            <a:extLst>
              <a:ext uri="{FF2B5EF4-FFF2-40B4-BE49-F238E27FC236}">
                <a16:creationId xmlns:a16="http://schemas.microsoft.com/office/drawing/2014/main" id="{E37BF6ED-AE69-42B0-22C6-9BD6D3AC8B70}"/>
              </a:ext>
            </a:extLst>
          </p:cNvPr>
          <p:cNvSpPr/>
          <p:nvPr/>
        </p:nvSpPr>
        <p:spPr>
          <a:xfrm rot="5400000">
            <a:off x="3692117" y="4558187"/>
            <a:ext cx="1017059" cy="180000"/>
          </a:xfrm>
          <a:prstGeom prst="triangle">
            <a:avLst/>
          </a:prstGeom>
          <a:solidFill>
            <a:schemeClr val="bg2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Gleichschenkliges Dreieck 15">
            <a:extLst>
              <a:ext uri="{FF2B5EF4-FFF2-40B4-BE49-F238E27FC236}">
                <a16:creationId xmlns:a16="http://schemas.microsoft.com/office/drawing/2014/main" id="{5E1144A9-47DB-D0BA-C316-B004D6A231FD}"/>
              </a:ext>
            </a:extLst>
          </p:cNvPr>
          <p:cNvSpPr/>
          <p:nvPr/>
        </p:nvSpPr>
        <p:spPr>
          <a:xfrm rot="5400000">
            <a:off x="3961909" y="5349709"/>
            <a:ext cx="477475" cy="180000"/>
          </a:xfrm>
          <a:prstGeom prst="triangle">
            <a:avLst/>
          </a:prstGeom>
          <a:solidFill>
            <a:schemeClr val="bg2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Symbol zastępczy tekstu 4">
            <a:extLst>
              <a:ext uri="{FF2B5EF4-FFF2-40B4-BE49-F238E27FC236}">
                <a16:creationId xmlns:a16="http://schemas.microsoft.com/office/drawing/2014/main" id="{292FE269-7D6D-1082-B160-77970E712600}"/>
              </a:ext>
            </a:extLst>
          </p:cNvPr>
          <p:cNvSpPr txBox="1">
            <a:spLocks/>
          </p:cNvSpPr>
          <p:nvPr/>
        </p:nvSpPr>
        <p:spPr>
          <a:xfrm>
            <a:off x="516401" y="5200971"/>
            <a:ext cx="3489390" cy="4774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18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539750" indent="-2270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852488" indent="-3127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zcionka systemowa (Regular)"/>
              <a:buChar char="—"/>
              <a:tabLst/>
              <a:defRPr sz="1400" b="0" i="0" kern="120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spcBef>
                <a:spcPts val="1200"/>
              </a:spcBef>
              <a:buNone/>
              <a:tabLst>
                <a:tab pos="271463" algn="l"/>
              </a:tabLst>
            </a:pPr>
            <a:r>
              <a:rPr lang="de-DE" sz="1400" b="1" dirty="0"/>
              <a:t>Mindestausstattung?</a:t>
            </a:r>
            <a:br>
              <a:rPr lang="de-DE" sz="1400" i="1" dirty="0"/>
            </a:br>
            <a:r>
              <a:rPr lang="de-DE" sz="1400" i="1" dirty="0">
                <a:sym typeface="Wingdings" panose="05000000000000000000" pitchFamily="2" charset="2"/>
              </a:rPr>
              <a:t> ÖV-Haltestelle</a:t>
            </a:r>
            <a:endParaRPr lang="de-DE" sz="1400" b="1" i="1" dirty="0"/>
          </a:p>
        </p:txBody>
      </p:sp>
    </p:spTree>
    <p:extLst>
      <p:ext uri="{BB962C8B-B14F-4D97-AF65-F5344CB8AC3E}">
        <p14:creationId xmlns:p14="http://schemas.microsoft.com/office/powerpoint/2010/main" val="21845016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>
            <a:extLst>
              <a:ext uri="{FF2B5EF4-FFF2-40B4-BE49-F238E27FC236}">
                <a16:creationId xmlns:a16="http://schemas.microsoft.com/office/drawing/2014/main" id="{50CB56F1-7A83-CC48-401C-363FFD9C0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1372" y="2212457"/>
            <a:ext cx="5476777" cy="2503796"/>
          </a:xfrm>
        </p:spPr>
        <p:txBody>
          <a:bodyPr/>
          <a:lstStyle/>
          <a:p>
            <a:pPr>
              <a:lnSpc>
                <a:spcPts val="5800"/>
              </a:lnSpc>
              <a:spcBef>
                <a:spcPts val="2400"/>
              </a:spcBef>
            </a:pPr>
            <a:r>
              <a:rPr lang="de-DE" dirty="0"/>
              <a:t>Mobilstationen –</a:t>
            </a:r>
            <a:br>
              <a:rPr lang="de-DE" dirty="0"/>
            </a:br>
            <a:r>
              <a:rPr lang="de-DE" sz="4800" b="1" dirty="0"/>
              <a:t>Wo genau?</a:t>
            </a:r>
            <a:endParaRPr lang="pl-PL" b="1" dirty="0"/>
          </a:p>
        </p:txBody>
      </p:sp>
      <p:sp>
        <p:nvSpPr>
          <p:cNvPr id="2" name="Symbol zastępczy tekstu 42">
            <a:extLst>
              <a:ext uri="{FF2B5EF4-FFF2-40B4-BE49-F238E27FC236}">
                <a16:creationId xmlns:a16="http://schemas.microsoft.com/office/drawing/2014/main" id="{F86D028B-82D7-4051-99F7-19987D8F7985}"/>
              </a:ext>
            </a:extLst>
          </p:cNvPr>
          <p:cNvSpPr txBox="1">
            <a:spLocks/>
          </p:cNvSpPr>
          <p:nvPr/>
        </p:nvSpPr>
        <p:spPr>
          <a:xfrm>
            <a:off x="650474" y="1981169"/>
            <a:ext cx="3855660" cy="289566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5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1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b="0" dirty="0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0</a:t>
            </a:r>
            <a:r>
              <a:rPr lang="de-DE" b="0" dirty="0">
                <a:latin typeface="Noto Sans Light" panose="020B0402040504020204" pitchFamily="34" charset="0"/>
                <a:ea typeface="Noto Sans Light" panose="020B0402040504020204" pitchFamily="34" charset="0"/>
                <a:cs typeface="Noto Sans Light" panose="020B0402040504020204" pitchFamily="34" charset="0"/>
              </a:rPr>
              <a:t>3</a:t>
            </a:r>
            <a:endParaRPr lang="pl-PL" b="0" dirty="0">
              <a:latin typeface="Noto Sans Light" panose="020B0402040504020204" pitchFamily="34" charset="0"/>
              <a:ea typeface="Noto Sans Light" panose="020B0402040504020204" pitchFamily="34" charset="0"/>
              <a:cs typeface="Noto Sans Light" panose="020B04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4157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ymbol zastępczy tekstu 23">
            <a:extLst>
              <a:ext uri="{FF2B5EF4-FFF2-40B4-BE49-F238E27FC236}">
                <a16:creationId xmlns:a16="http://schemas.microsoft.com/office/drawing/2014/main" id="{E7944D8E-C5CF-6AFA-ECB6-DA7B722DF5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7073" y="2872998"/>
            <a:ext cx="2206729" cy="1378235"/>
          </a:xfrm>
        </p:spPr>
        <p:txBody>
          <a:bodyPr>
            <a:noAutofit/>
          </a:bodyPr>
          <a:lstStyle/>
          <a:p>
            <a:r>
              <a:rPr lang="de-DE" dirty="0"/>
              <a:t>Methodisches </a:t>
            </a:r>
            <a:br>
              <a:rPr lang="de-DE" dirty="0"/>
            </a:br>
            <a:r>
              <a:rPr lang="de-DE" dirty="0"/>
              <a:t>Vorgehen bei der Standortauswahl </a:t>
            </a:r>
            <a:br>
              <a:rPr lang="de-DE" dirty="0"/>
            </a:br>
            <a:br>
              <a:rPr lang="de-DE" dirty="0"/>
            </a:br>
            <a:r>
              <a:rPr lang="de-DE" dirty="0"/>
              <a:t>Überblick </a:t>
            </a:r>
          </a:p>
        </p:txBody>
      </p:sp>
      <p:sp>
        <p:nvSpPr>
          <p:cNvPr id="25" name="Symbol zastępczy tekstu 24">
            <a:extLst>
              <a:ext uri="{FF2B5EF4-FFF2-40B4-BE49-F238E27FC236}">
                <a16:creationId xmlns:a16="http://schemas.microsoft.com/office/drawing/2014/main" id="{61D66A70-6B10-664D-3DB7-90D19C99EFC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7073" y="316341"/>
            <a:ext cx="6401515" cy="571088"/>
          </a:xfrm>
        </p:spPr>
        <p:txBody>
          <a:bodyPr>
            <a:normAutofit lnSpcReduction="10000"/>
          </a:bodyPr>
          <a:lstStyle/>
          <a:p>
            <a:r>
              <a:rPr lang="de-DE" dirty="0"/>
              <a:t>Mobilstationen – Wo genau?</a:t>
            </a:r>
            <a:endParaRPr lang="pl-PL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6C68AD6-CBD1-CA4A-5513-A608F3D50265}"/>
              </a:ext>
            </a:extLst>
          </p:cNvPr>
          <p:cNvSpPr txBox="1">
            <a:spLocks/>
          </p:cNvSpPr>
          <p:nvPr/>
        </p:nvSpPr>
        <p:spPr>
          <a:xfrm>
            <a:off x="535933" y="641067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A869D182-C247-4DB2-A5FA-15BB7BE87EBF}" type="slidenum">
              <a:rPr lang="en-US" smtClean="0">
                <a:solidFill>
                  <a:schemeClr val="tx1"/>
                </a:solidFill>
                <a:latin typeface="Noto Sans Light" panose="020B0402040504020204" pitchFamily="34"/>
                <a:ea typeface="Noto Sans Light" panose="020B0402040504020204" pitchFamily="34"/>
                <a:cs typeface="Noto Sans Light" panose="020B0402040504020204" pitchFamily="34"/>
              </a:rPr>
              <a:pPr algn="l">
                <a:defRPr/>
              </a:pPr>
              <a:t>9</a:t>
            </a:fld>
            <a:endParaRPr lang="en-US" dirty="0">
              <a:solidFill>
                <a:schemeClr val="tx1"/>
              </a:solidFill>
              <a:latin typeface="Noto Sans Light" panose="020B0402040504020204" pitchFamily="34"/>
              <a:ea typeface="Noto Sans Light" panose="020B0402040504020204" pitchFamily="34"/>
              <a:cs typeface="Noto Sans Light" panose="020B0402040504020204" pitchFamily="34"/>
            </a:endParaRP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AA399610-75ED-89A9-F6D3-7194BB0868A8}"/>
              </a:ext>
            </a:extLst>
          </p:cNvPr>
          <p:cNvSpPr/>
          <p:nvPr/>
        </p:nvSpPr>
        <p:spPr>
          <a:xfrm>
            <a:off x="3138198" y="1408111"/>
            <a:ext cx="6120000" cy="468000"/>
          </a:xfrm>
          <a:prstGeom prst="roundRect">
            <a:avLst/>
          </a:prstGeom>
          <a:solidFill>
            <a:srgbClr val="93A9F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00" dirty="0"/>
              <a:t>Vorüberlegungen zum planerischen Ansatz: </a:t>
            </a:r>
            <a:br>
              <a:rPr lang="de-DE" sz="1300" dirty="0"/>
            </a:br>
            <a:r>
              <a:rPr lang="de-DE" sz="1300" dirty="0"/>
              <a:t>Daseinsvorsorge vs. eigenwirtschaftl. Betrieb der Angebote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F8008744-929A-F56B-05A9-64A8AA505D62}"/>
              </a:ext>
            </a:extLst>
          </p:cNvPr>
          <p:cNvSpPr/>
          <p:nvPr/>
        </p:nvSpPr>
        <p:spPr>
          <a:xfrm>
            <a:off x="3138198" y="2128111"/>
            <a:ext cx="6120000" cy="468000"/>
          </a:xfrm>
          <a:prstGeom prst="roundRect">
            <a:avLst/>
          </a:prstGeom>
          <a:solidFill>
            <a:srgbClr val="93A9F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e-DE" sz="1300" dirty="0"/>
              <a:t>Grundsätze und Orientierungswerte für die Ausstattung mit Mobilstationen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E2ADA9DC-D45D-9BF7-EE15-8A640AEC90A7}"/>
              </a:ext>
            </a:extLst>
          </p:cNvPr>
          <p:cNvSpPr/>
          <p:nvPr/>
        </p:nvSpPr>
        <p:spPr>
          <a:xfrm>
            <a:off x="3138198" y="2848111"/>
            <a:ext cx="6120000" cy="468000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00" dirty="0"/>
              <a:t>Nutzwertanalyse der ÖPNV-Haltestellen im Stadtgebiet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147DFF6D-BAB9-63DE-2B2F-B8FE306BD1AA}"/>
              </a:ext>
            </a:extLst>
          </p:cNvPr>
          <p:cNvSpPr/>
          <p:nvPr/>
        </p:nvSpPr>
        <p:spPr>
          <a:xfrm>
            <a:off x="6459908" y="3568111"/>
            <a:ext cx="5576582" cy="468000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00" dirty="0"/>
              <a:t>Sammeln &amp; Konsolidieren von bevorzugten Mobilstationsstandorten </a:t>
            </a:r>
            <a:br>
              <a:rPr lang="de-DE" sz="1300" dirty="0"/>
            </a:br>
            <a:r>
              <a:rPr lang="de-DE" sz="1300" dirty="0"/>
              <a:t>(Bürgerschaft, Kommunalpolitik, Verwaltung,…) </a:t>
            </a:r>
          </a:p>
        </p:txBody>
      </p:sp>
      <p:sp>
        <p:nvSpPr>
          <p:cNvPr id="10" name="Pfeil: nach unten 9">
            <a:extLst>
              <a:ext uri="{FF2B5EF4-FFF2-40B4-BE49-F238E27FC236}">
                <a16:creationId xmlns:a16="http://schemas.microsoft.com/office/drawing/2014/main" id="{4274CCB2-2E2C-E9D7-ADF6-90409C942620}"/>
              </a:ext>
            </a:extLst>
          </p:cNvPr>
          <p:cNvSpPr/>
          <p:nvPr/>
        </p:nvSpPr>
        <p:spPr>
          <a:xfrm>
            <a:off x="6048000" y="1910185"/>
            <a:ext cx="298580" cy="180000"/>
          </a:xfrm>
          <a:prstGeom prst="downArrow">
            <a:avLst/>
          </a:prstGeom>
          <a:solidFill>
            <a:schemeClr val="accent5">
              <a:lumMod val="9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: nach unten 11">
            <a:extLst>
              <a:ext uri="{FF2B5EF4-FFF2-40B4-BE49-F238E27FC236}">
                <a16:creationId xmlns:a16="http://schemas.microsoft.com/office/drawing/2014/main" id="{BF6A037F-FABD-E68B-516F-89EE1410275C}"/>
              </a:ext>
            </a:extLst>
          </p:cNvPr>
          <p:cNvSpPr/>
          <p:nvPr/>
        </p:nvSpPr>
        <p:spPr>
          <a:xfrm>
            <a:off x="6048000" y="2632989"/>
            <a:ext cx="298580" cy="180000"/>
          </a:xfrm>
          <a:prstGeom prst="downArrow">
            <a:avLst/>
          </a:prstGeom>
          <a:solidFill>
            <a:schemeClr val="accent5">
              <a:lumMod val="9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D98B458-EA1E-60BB-106A-0C68C7D03B29}"/>
              </a:ext>
            </a:extLst>
          </p:cNvPr>
          <p:cNvGrpSpPr/>
          <p:nvPr/>
        </p:nvGrpSpPr>
        <p:grpSpPr>
          <a:xfrm>
            <a:off x="3138198" y="4790904"/>
            <a:ext cx="6120000" cy="685207"/>
            <a:chOff x="3138198" y="4790904"/>
            <a:chExt cx="6120000" cy="685207"/>
          </a:xfrm>
        </p:grpSpPr>
        <p:sp>
          <p:nvSpPr>
            <p:cNvPr id="8" name="Rechteck: abgerundete Ecken 7">
              <a:extLst>
                <a:ext uri="{FF2B5EF4-FFF2-40B4-BE49-F238E27FC236}">
                  <a16:creationId xmlns:a16="http://schemas.microsoft.com/office/drawing/2014/main" id="{748D7CC6-2953-5782-EF24-4191CFCAF40A}"/>
                </a:ext>
              </a:extLst>
            </p:cNvPr>
            <p:cNvSpPr/>
            <p:nvPr/>
          </p:nvSpPr>
          <p:spPr>
            <a:xfrm>
              <a:off x="3138198" y="5008111"/>
              <a:ext cx="6120000" cy="468000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/>
                <a:t>Qualitative Bewertung der ermittelten Mobilstationsstandorte</a:t>
              </a:r>
              <a:br>
                <a:rPr lang="de-DE" sz="1300" dirty="0"/>
              </a:br>
              <a:r>
                <a:rPr lang="de-DE" sz="1300" dirty="0">
                  <a:sym typeface="Wingdings" panose="05000000000000000000" pitchFamily="2" charset="2"/>
                </a:rPr>
                <a:t> 2</a:t>
              </a:r>
              <a:r>
                <a:rPr lang="de-DE" sz="1300" dirty="0"/>
                <a:t>. Auswahl geeigneter Mobilstationsstandorte </a:t>
              </a:r>
            </a:p>
          </p:txBody>
        </p:sp>
        <p:sp>
          <p:nvSpPr>
            <p:cNvPr id="15" name="Pfeil: nach unten 14">
              <a:extLst>
                <a:ext uri="{FF2B5EF4-FFF2-40B4-BE49-F238E27FC236}">
                  <a16:creationId xmlns:a16="http://schemas.microsoft.com/office/drawing/2014/main" id="{352A62F3-4273-4BFC-1B0C-44A58D0CC420}"/>
                </a:ext>
              </a:extLst>
            </p:cNvPr>
            <p:cNvSpPr/>
            <p:nvPr/>
          </p:nvSpPr>
          <p:spPr>
            <a:xfrm>
              <a:off x="6048000" y="4790904"/>
              <a:ext cx="298580" cy="180000"/>
            </a:xfrm>
            <a:prstGeom prst="downArrow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CC122802-C4FA-9327-B313-7EC7ED65BD16}"/>
              </a:ext>
            </a:extLst>
          </p:cNvPr>
          <p:cNvGrpSpPr/>
          <p:nvPr/>
        </p:nvGrpSpPr>
        <p:grpSpPr>
          <a:xfrm>
            <a:off x="3138198" y="5519791"/>
            <a:ext cx="6120000" cy="676320"/>
            <a:chOff x="3138198" y="5519791"/>
            <a:chExt cx="6120000" cy="676320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011CEAEB-8344-9E81-CB43-611256BC2D32}"/>
                </a:ext>
              </a:extLst>
            </p:cNvPr>
            <p:cNvSpPr/>
            <p:nvPr/>
          </p:nvSpPr>
          <p:spPr>
            <a:xfrm>
              <a:off x="3138198" y="5728111"/>
              <a:ext cx="6120000" cy="468000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/>
                <a:t>Finale Standortvorschläge</a:t>
              </a:r>
            </a:p>
          </p:txBody>
        </p:sp>
        <p:sp>
          <p:nvSpPr>
            <p:cNvPr id="16" name="Pfeil: nach unten 15">
              <a:extLst>
                <a:ext uri="{FF2B5EF4-FFF2-40B4-BE49-F238E27FC236}">
                  <a16:creationId xmlns:a16="http://schemas.microsoft.com/office/drawing/2014/main" id="{3FEC0EF6-CA3F-B24D-4E20-18557E80C49B}"/>
                </a:ext>
              </a:extLst>
            </p:cNvPr>
            <p:cNvSpPr/>
            <p:nvPr/>
          </p:nvSpPr>
          <p:spPr>
            <a:xfrm>
              <a:off x="6048000" y="5519791"/>
              <a:ext cx="298580" cy="180000"/>
            </a:xfrm>
            <a:prstGeom prst="downArrow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E34711B-6664-97BE-35F7-DD5BF6F031C0}"/>
              </a:ext>
            </a:extLst>
          </p:cNvPr>
          <p:cNvGrpSpPr/>
          <p:nvPr/>
        </p:nvGrpSpPr>
        <p:grpSpPr>
          <a:xfrm>
            <a:off x="3138198" y="3351233"/>
            <a:ext cx="6120000" cy="1404878"/>
            <a:chOff x="3138198" y="3351233"/>
            <a:chExt cx="6120000" cy="1404878"/>
          </a:xfrm>
        </p:grpSpPr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0F46EA82-66E8-6CF5-1B7E-A7F44248A808}"/>
                </a:ext>
              </a:extLst>
            </p:cNvPr>
            <p:cNvSpPr/>
            <p:nvPr/>
          </p:nvSpPr>
          <p:spPr>
            <a:xfrm>
              <a:off x="3138198" y="4288111"/>
              <a:ext cx="6120000" cy="468000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00" dirty="0"/>
                <a:t>(Quantitatives) Standortbewertungs- und -auswahlverfahren </a:t>
              </a:r>
              <a:br>
                <a:rPr lang="de-DE" sz="1300" dirty="0"/>
              </a:br>
              <a:r>
                <a:rPr lang="de-DE" sz="1300" dirty="0">
                  <a:sym typeface="Wingdings" panose="05000000000000000000" pitchFamily="2" charset="2"/>
                </a:rPr>
                <a:t></a:t>
              </a:r>
              <a:r>
                <a:rPr lang="de-DE" sz="1300" dirty="0"/>
                <a:t> 1. Auswahl geeigneter Mobilstationsstandorte </a:t>
              </a:r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538B4BC1-5626-01D3-E429-511013150DC4}"/>
                </a:ext>
              </a:extLst>
            </p:cNvPr>
            <p:cNvGrpSpPr/>
            <p:nvPr/>
          </p:nvGrpSpPr>
          <p:grpSpPr>
            <a:xfrm>
              <a:off x="6048000" y="3351233"/>
              <a:ext cx="685596" cy="954522"/>
              <a:chOff x="6048000" y="3351233"/>
              <a:chExt cx="685596" cy="954522"/>
            </a:xfrm>
          </p:grpSpPr>
          <p:sp>
            <p:nvSpPr>
              <p:cNvPr id="2" name="Halbbogen 1">
                <a:extLst>
                  <a:ext uri="{FF2B5EF4-FFF2-40B4-BE49-F238E27FC236}">
                    <a16:creationId xmlns:a16="http://schemas.microsoft.com/office/drawing/2014/main" id="{EBDBE919-4C56-AF7C-7629-AD7A9E52EEA2}"/>
                  </a:ext>
                </a:extLst>
              </p:cNvPr>
              <p:cNvSpPr/>
              <p:nvPr/>
            </p:nvSpPr>
            <p:spPr>
              <a:xfrm flipH="1">
                <a:off x="6122503" y="3693755"/>
                <a:ext cx="611093" cy="612000"/>
              </a:xfrm>
              <a:prstGeom prst="blockArc">
                <a:avLst>
                  <a:gd name="adj1" fmla="val 16182078"/>
                  <a:gd name="adj2" fmla="val 0"/>
                  <a:gd name="adj3" fmla="val 25000"/>
                </a:avLst>
              </a:prstGeom>
              <a:solidFill>
                <a:schemeClr val="accent6">
                  <a:lumMod val="75000"/>
                </a:schemeClr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" name="Pfeil: nach unten 12">
                <a:extLst>
                  <a:ext uri="{FF2B5EF4-FFF2-40B4-BE49-F238E27FC236}">
                    <a16:creationId xmlns:a16="http://schemas.microsoft.com/office/drawing/2014/main" id="{4AC0F792-1FA8-238D-5A86-C7E2CF169F9B}"/>
                  </a:ext>
                </a:extLst>
              </p:cNvPr>
              <p:cNvSpPr/>
              <p:nvPr/>
            </p:nvSpPr>
            <p:spPr>
              <a:xfrm>
                <a:off x="6048000" y="3351233"/>
                <a:ext cx="298580" cy="900000"/>
              </a:xfrm>
              <a:prstGeom prst="downArrow">
                <a:avLst/>
              </a:prstGeom>
              <a:solidFill>
                <a:schemeClr val="accent6">
                  <a:lumMod val="75000"/>
                </a:schemeClr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18" name="Gerader Verbinder 17">
                <a:extLst>
                  <a:ext uri="{FF2B5EF4-FFF2-40B4-BE49-F238E27FC236}">
                    <a16:creationId xmlns:a16="http://schemas.microsoft.com/office/drawing/2014/main" id="{92AAC1A6-9951-0FFD-AF0C-C3CC7C9CF7E4}"/>
                  </a:ext>
                </a:extLst>
              </p:cNvPr>
              <p:cNvCxnSpPr/>
              <p:nvPr/>
            </p:nvCxnSpPr>
            <p:spPr>
              <a:xfrm>
                <a:off x="6273579" y="3740302"/>
                <a:ext cx="0" cy="180000"/>
              </a:xfrm>
              <a:prstGeom prst="line">
                <a:avLst/>
              </a:prstGeom>
              <a:ln w="2540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r Verbinder 27">
                <a:extLst>
                  <a:ext uri="{FF2B5EF4-FFF2-40B4-BE49-F238E27FC236}">
                    <a16:creationId xmlns:a16="http://schemas.microsoft.com/office/drawing/2014/main" id="{5B6309C4-7E46-E5EF-1403-86575D42EBEC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">
                <a:off x="6268278" y="3907064"/>
                <a:ext cx="0" cy="72000"/>
              </a:xfrm>
              <a:prstGeom prst="line">
                <a:avLst/>
              </a:prstGeom>
              <a:ln w="22225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065420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SbEEm5Qp6aPla_IQgg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wgmnWfRk6yWJnU7Mel_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3D6AnAThmHYRtWGpmw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qR21XNR7uQHGxJjq54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TV Presentation Master">
  <a:themeElements>
    <a:clrScheme name="PTV Brand Colors">
      <a:dk1>
        <a:srgbClr val="000000"/>
      </a:dk1>
      <a:lt1>
        <a:srgbClr val="FEFFFF"/>
      </a:lt1>
      <a:dk2>
        <a:srgbClr val="000000"/>
      </a:dk2>
      <a:lt2>
        <a:srgbClr val="FFFFFF"/>
      </a:lt2>
      <a:accent1>
        <a:srgbClr val="4168F9"/>
      </a:accent1>
      <a:accent2>
        <a:srgbClr val="FF4149"/>
      </a:accent2>
      <a:accent3>
        <a:srgbClr val="29E085"/>
      </a:accent3>
      <a:accent4>
        <a:srgbClr val="D653D3"/>
      </a:accent4>
      <a:accent5>
        <a:srgbClr val="F1F2F1"/>
      </a:accent5>
      <a:accent6>
        <a:srgbClr val="DCDCDC"/>
      </a:accent6>
      <a:hlink>
        <a:srgbClr val="757575"/>
      </a:hlink>
      <a:folHlink>
        <a:srgbClr val="F1F2F1"/>
      </a:folHlink>
    </a:clrScheme>
    <a:fontScheme name="PTV Group">
      <a:majorFont>
        <a:latin typeface="Noto Sans"/>
        <a:ea typeface=""/>
        <a:cs typeface=""/>
      </a:majorFont>
      <a:minorFont>
        <a:latin typeface="Noto Sans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>
        <a:no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nternehmenspräsentation_TC_Vorlage_20221220" id="{813C824B-AC5C-43BA-8991-6C5D5715A9A3}" vid="{BE79B468-0BCE-4048-8208-64CF4B14720A}"/>
    </a:ext>
  </a:extLst>
</a:theme>
</file>

<file path=ppt/theme/theme2.xml><?xml version="1.0" encoding="utf-8"?>
<a:theme xmlns:a="http://schemas.openxmlformats.org/drawingml/2006/main" name="Rödl &amp; Partner Green">
  <a:themeElements>
    <a:clrScheme name="Benutzerdefiniert 28">
      <a:dk1>
        <a:sysClr val="windowText" lastClr="000000"/>
      </a:dk1>
      <a:lt1>
        <a:sysClr val="window" lastClr="FFFFFF"/>
      </a:lt1>
      <a:dk2>
        <a:srgbClr val="00A990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FFFFFF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C5738AF8-1163-4EB2-B17C-7ED37DE34059}" vid="{7ACC2F73-5C0A-4467-9E29-CE64050E1B11}"/>
    </a:ext>
  </a:extLst>
</a:theme>
</file>

<file path=ppt/theme/theme3.xml><?xml version="1.0" encoding="utf-8"?>
<a:theme xmlns:a="http://schemas.openxmlformats.org/drawingml/2006/main" name="Highland green ">
  <a:themeElements>
    <a:clrScheme name="Benutzerdefiniert 29">
      <a:dk1>
        <a:sysClr val="windowText" lastClr="000000"/>
      </a:dk1>
      <a:lt1>
        <a:sysClr val="window" lastClr="FFFFFF"/>
      </a:lt1>
      <a:dk2>
        <a:srgbClr val="D4E458"/>
      </a:dk2>
      <a:lt2>
        <a:srgbClr val="DEE1E0"/>
      </a:lt2>
      <a:accent1>
        <a:srgbClr val="FF644B"/>
      </a:accent1>
      <a:accent2>
        <a:srgbClr val="5479BD"/>
      </a:accent2>
      <a:accent3>
        <a:srgbClr val="00A990"/>
      </a:accent3>
      <a:accent4>
        <a:srgbClr val="EAA21C"/>
      </a:accent4>
      <a:accent5>
        <a:srgbClr val="50695F"/>
      </a:accent5>
      <a:accent6>
        <a:srgbClr val="D4E458"/>
      </a:accent6>
      <a:hlink>
        <a:srgbClr val="000000"/>
      </a:hlink>
      <a:folHlink>
        <a:srgbClr val="00A990"/>
      </a:folHlink>
    </a:clrScheme>
    <a:fontScheme name="Roedl&amp;Partners 2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Präsentation1" id="{C5738AF8-1163-4EB2-B17C-7ED37DE34059}" vid="{0A142956-2787-4020-8902-3366ADCDEED9}"/>
    </a:ext>
  </a:extLst>
</a:theme>
</file>

<file path=ppt/theme/theme4.xml><?xml version="1.0" encoding="utf-8"?>
<a:theme xmlns:a="http://schemas.openxmlformats.org/drawingml/2006/main" name="Rödl &amp; Partner (Headline in Farbe)">
  <a:themeElements>
    <a:clrScheme name="Roedl&amp;Partner 2018 ( Schwarz Weiß)">
      <a:dk1>
        <a:sysClr val="windowText" lastClr="000000"/>
      </a:dk1>
      <a:lt1>
        <a:sysClr val="window" lastClr="FFFFFF"/>
      </a:lt1>
      <a:dk2>
        <a:srgbClr val="5C6962"/>
      </a:dk2>
      <a:lt2>
        <a:srgbClr val="DEE1E0"/>
      </a:lt2>
      <a:accent1>
        <a:srgbClr val="5479BD"/>
      </a:accent1>
      <a:accent2>
        <a:srgbClr val="FF644B"/>
      </a:accent2>
      <a:accent3>
        <a:srgbClr val="00A990"/>
      </a:accent3>
      <a:accent4>
        <a:srgbClr val="EAA21C"/>
      </a:accent4>
      <a:accent5>
        <a:srgbClr val="5C6962"/>
      </a:accent5>
      <a:accent6>
        <a:srgbClr val="D4E458"/>
      </a:accent6>
      <a:hlink>
        <a:srgbClr val="000000"/>
      </a:hlink>
      <a:folHlink>
        <a:srgbClr val="5C6962"/>
      </a:folHlink>
    </a:clrScheme>
    <a:fontScheme name="Roedl&amp;Partners 2018">
      <a:majorFont>
        <a:latin typeface="GT America"/>
        <a:ea typeface=""/>
        <a:cs typeface=""/>
      </a:majorFont>
      <a:minorFont>
        <a:latin typeface="GT Amer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16000" indent="-216000" algn="l">
          <a:buFontTx/>
          <a:buChar char="–"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 defTabSz="914400" rtl="0" eaLnBrk="1" latinLnBrk="0" hangingPunct="1">
          <a:spcBef>
            <a:spcPts val="500"/>
          </a:spcBef>
          <a:buFontTx/>
          <a:buChar char="–"/>
          <a:defRPr sz="16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txDef>
  </a:objectDefaults>
  <a:extraClrSchemeLst/>
  <a:custClrLst>
    <a:custClr>
      <a:srgbClr val="5A6AA8"/>
    </a:custClr>
    <a:custClr>
      <a:srgbClr val="F29C9C"/>
    </a:custClr>
    <a:custClr>
      <a:srgbClr val="FFFC00"/>
    </a:custClr>
    <a:custClr>
      <a:srgbClr val="00838A"/>
    </a:custClr>
    <a:custClr>
      <a:srgbClr val="DDEEF2"/>
    </a:custClr>
    <a:custClr>
      <a:srgbClr val="FFE0DB"/>
    </a:custClr>
    <a:custClr>
      <a:srgbClr val="CCEEE9"/>
    </a:custClr>
  </a:custClrLst>
  <a:extLst>
    <a:ext uri="{05A4C25C-085E-4340-85A3-A5531E510DB2}">
      <thm15:themeFamily xmlns:thm15="http://schemas.microsoft.com/office/thememl/2012/main" name="Roedl&amp;Partner Master 16zu9_scr01.potx" id="{3D7B32E2-3737-434C-A317-BAFF4B486B41}" vid="{2828D0DA-1F4A-4C5B-B400-7B667B42FDF3}"/>
    </a:ext>
  </a:extLst>
</a:theme>
</file>

<file path=ppt/theme/theme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1df9ab4-1efc-4f2e-ab53-71ad483948ee" xsi:nil="true"/>
    <lcf76f155ced4ddcb4097134ff3c332f xmlns="70a0d3a8-4e62-4a62-8e84-ff4fa230d15a">
      <Terms xmlns="http://schemas.microsoft.com/office/infopath/2007/PartnerControls"/>
    </lcf76f155ced4ddcb4097134ff3c332f>
    <SharedWithUsers xmlns="61df9ab4-1efc-4f2e-ab53-71ad483948ee">
      <UserInfo>
        <DisplayName>Besitzer von TEAM Creative Services by Futu</DisplayName>
        <AccountId>6</AccountId>
        <AccountType/>
      </UserInfo>
      <UserInfo>
        <DisplayName>Janine STUCHL (PTV Group)</DisplayName>
        <AccountId>46</AccountId>
        <AccountType/>
      </UserInfo>
      <UserInfo>
        <DisplayName>Tomasz PIERNICKI (PTV Group)</DisplayName>
        <AccountId>12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C6D4738DDD18D478CBEE9A831EA17F7" ma:contentTypeVersion="17" ma:contentTypeDescription="Ein neues Dokument erstellen." ma:contentTypeScope="" ma:versionID="874d0497d3a970b21c96284e20c93032">
  <xsd:schema xmlns:xsd="http://www.w3.org/2001/XMLSchema" xmlns:xs="http://www.w3.org/2001/XMLSchema" xmlns:p="http://schemas.microsoft.com/office/2006/metadata/properties" xmlns:ns2="70a0d3a8-4e62-4a62-8e84-ff4fa230d15a" xmlns:ns3="61df9ab4-1efc-4f2e-ab53-71ad483948ee" targetNamespace="http://schemas.microsoft.com/office/2006/metadata/properties" ma:root="true" ma:fieldsID="9cb0f952d70e1199a1d0f175b5d95408" ns2:_="" ns3:_="">
    <xsd:import namespace="70a0d3a8-4e62-4a62-8e84-ff4fa230d15a"/>
    <xsd:import namespace="61df9ab4-1efc-4f2e-ab53-71ad483948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a0d3a8-4e62-4a62-8e84-ff4fa230d1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ab2317dc-b218-476c-ad46-5d2bf59965b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df9ab4-1efc-4f2e-ab53-71ad483948ee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7a65ccb-1f1c-458a-9853-4e938ca36c74}" ma:internalName="TaxCatchAll" ma:showField="CatchAllData" ma:web="61df9ab4-1efc-4f2e-ab53-71ad483948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9EE79BE-707B-4DAD-8455-70FA136FCAB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A93AD82-594A-4A45-A5ED-4F8A4FF05EF2}">
  <ds:schemaRefs>
    <ds:schemaRef ds:uri="61df9ab4-1efc-4f2e-ab53-71ad483948ee"/>
    <ds:schemaRef ds:uri="http://schemas.microsoft.com/office/infopath/2007/PartnerControls"/>
    <ds:schemaRef ds:uri="http://schemas.microsoft.com/office/2006/metadata/properties"/>
    <ds:schemaRef ds:uri="http://purl.org/dc/elements/1.1/"/>
    <ds:schemaRef ds:uri="70a0d3a8-4e62-4a62-8e84-ff4fa230d15a"/>
    <ds:schemaRef ds:uri="http://purl.org/dc/dcmitype/"/>
    <ds:schemaRef ds:uri="http://purl.org/dc/terms/"/>
    <ds:schemaRef ds:uri="http://schemas.microsoft.com/office/2006/documentManagement/types"/>
    <ds:schemaRef ds:uri="http://www.w3.org/XML/1998/namespace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6426C7A0-354B-4F8B-85B6-B27BFE7A61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a0d3a8-4e62-4a62-8e84-ff4fa230d15a"/>
    <ds:schemaRef ds:uri="61df9ab4-1efc-4f2e-ab53-71ad483948e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nternehmenspräsentation_TC_Vorlage_Blue_Noto_Sans</Template>
  <TotalTime>0</TotalTime>
  <Words>1195</Words>
  <Application>Microsoft Office PowerPoint</Application>
  <PresentationFormat>Breitbild</PresentationFormat>
  <Paragraphs>196</Paragraphs>
  <Slides>22</Slides>
  <Notes>1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3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40" baseType="lpstr">
      <vt:lpstr>Aptos Narrow</vt:lpstr>
      <vt:lpstr>Arial</vt:lpstr>
      <vt:lpstr>AvenirNext LT Pro Regular</vt:lpstr>
      <vt:lpstr>Calibri</vt:lpstr>
      <vt:lpstr>Czcionka systemowa (Regular)</vt:lpstr>
      <vt:lpstr>GT America</vt:lpstr>
      <vt:lpstr>Lucida Grande</vt:lpstr>
      <vt:lpstr>Noto Sans</vt:lpstr>
      <vt:lpstr>Noto Sans Light</vt:lpstr>
      <vt:lpstr>Symbol</vt:lpstr>
      <vt:lpstr>Tahoma</vt:lpstr>
      <vt:lpstr>Times New Roman</vt:lpstr>
      <vt:lpstr>Wingdings</vt:lpstr>
      <vt:lpstr>PTV Presentation Master</vt:lpstr>
      <vt:lpstr>Rödl &amp; Partner Green</vt:lpstr>
      <vt:lpstr>Highland green </vt:lpstr>
      <vt:lpstr>Rödl &amp; Partner (Headline in Farbe)</vt:lpstr>
      <vt:lpstr>think-cell Folie</vt:lpstr>
      <vt:lpstr>PowerPoint-Präsentation</vt:lpstr>
      <vt:lpstr>Mobilstationen – Warum?</vt:lpstr>
      <vt:lpstr>PowerPoint-Präsentation</vt:lpstr>
      <vt:lpstr>PowerPoint-Präsentation</vt:lpstr>
      <vt:lpstr>Mobilstationen – Wie viele?</vt:lpstr>
      <vt:lpstr>PowerPoint-Präsentation</vt:lpstr>
      <vt:lpstr>PowerPoint-Präsentation</vt:lpstr>
      <vt:lpstr>Mobilstationen – Wo genau?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Ergebnis</vt:lpstr>
      <vt:lpstr>PowerPoint-Präsentation</vt:lpstr>
      <vt:lpstr>PowerPoint-Präsentation</vt:lpstr>
      <vt:lpstr>PowerPoint-Präsentation</vt:lpstr>
      <vt:lpstr>Bewertung  &amp; Einordnung  des Verfahrens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an REUTER (PTV Group)</dc:creator>
  <cp:lastModifiedBy>Christian Reuter</cp:lastModifiedBy>
  <cp:revision>77</cp:revision>
  <dcterms:created xsi:type="dcterms:W3CDTF">2023-02-03T08:25:23Z</dcterms:created>
  <dcterms:modified xsi:type="dcterms:W3CDTF">2024-04-16T20:2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C6D4738DDD18D478CBEE9A831EA17F7</vt:lpwstr>
  </property>
  <property fmtid="{D5CDD505-2E9C-101B-9397-08002B2CF9AE}" pid="3" name="MediaServiceImageTags">
    <vt:lpwstr/>
  </property>
</Properties>
</file>